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908" r:id="rId1"/>
    <p:sldMasterId id="2147483831" r:id="rId2"/>
    <p:sldMasterId id="2147485122" r:id="rId3"/>
    <p:sldMasterId id="2147485131" r:id="rId4"/>
  </p:sldMasterIdLst>
  <p:notesMasterIdLst>
    <p:notesMasterId r:id="rId20"/>
  </p:notesMasterIdLst>
  <p:handoutMasterIdLst>
    <p:handoutMasterId r:id="rId21"/>
  </p:handoutMasterIdLst>
  <p:sldIdLst>
    <p:sldId id="9107" r:id="rId5"/>
    <p:sldId id="9131" r:id="rId6"/>
    <p:sldId id="9116" r:id="rId7"/>
    <p:sldId id="9143" r:id="rId8"/>
    <p:sldId id="9127" r:id="rId9"/>
    <p:sldId id="9134" r:id="rId10"/>
    <p:sldId id="9135" r:id="rId11"/>
    <p:sldId id="9136" r:id="rId12"/>
    <p:sldId id="9137" r:id="rId13"/>
    <p:sldId id="9138" r:id="rId14"/>
    <p:sldId id="9145" r:id="rId15"/>
    <p:sldId id="9146" r:id="rId16"/>
    <p:sldId id="9147" r:id="rId17"/>
    <p:sldId id="9148" r:id="rId18"/>
    <p:sldId id="9068" r:id="rId19"/>
  </p:sldIdLst>
  <p:sldSz cx="9144000" cy="5143500" type="screen16x9"/>
  <p:notesSz cx="6792913" cy="9925050"/>
  <p:defaultTextStyle>
    <a:defPPr>
      <a:defRPr lang="ru-RU"/>
    </a:defPPr>
    <a:lvl1pPr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344285" indent="112646"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690156" indent="-3175"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034439" indent="-4763"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380310" indent="-6350" algn="l" defTabSz="690156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4651" algn="l" defTabSz="91386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1581" algn="l" defTabSz="91386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198510" algn="l" defTabSz="91386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5439" algn="l" defTabSz="91386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67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54" userDrawn="1">
          <p15:clr>
            <a:srgbClr val="A4A3A4"/>
          </p15:clr>
        </p15:guide>
        <p15:guide id="5" orient="horz" pos="3126" userDrawn="1">
          <p15:clr>
            <a:srgbClr val="A4A3A4"/>
          </p15:clr>
        </p15:guide>
        <p15:guide id="6" pos="2153" userDrawn="1">
          <p15:clr>
            <a:srgbClr val="A4A3A4"/>
          </p15:clr>
        </p15:guide>
        <p15:guide id="7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sar Kapyatov" initials="AK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0000"/>
    <a:srgbClr val="D5F2FC"/>
    <a:srgbClr val="1D4999"/>
    <a:srgbClr val="FFB2B2"/>
    <a:srgbClr val="FFFFFF"/>
    <a:srgbClr val="0065BD"/>
    <a:srgbClr val="8FAADC"/>
    <a:srgbClr val="2E75B6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36" autoAdjust="0"/>
    <p:restoredTop sz="95211" autoAdjust="0"/>
  </p:normalViewPr>
  <p:slideViewPr>
    <p:cSldViewPr snapToGrid="0">
      <p:cViewPr varScale="1">
        <p:scale>
          <a:sx n="112" d="100"/>
          <a:sy n="112" d="100"/>
        </p:scale>
        <p:origin x="77" y="35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1" d="100"/>
          <a:sy n="61" d="100"/>
        </p:scale>
        <p:origin x="-3390" y="-90"/>
      </p:cViewPr>
      <p:guideLst>
        <p:guide orient="horz" pos="3128"/>
        <p:guide pos="2167"/>
        <p:guide orient="horz" pos="3127"/>
        <p:guide pos="2154"/>
        <p:guide orient="horz" pos="3126"/>
        <p:guide pos="2153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ADFC8963-2523-4E22-B3EE-278C2D79AE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6" y="2"/>
            <a:ext cx="2944282" cy="497679"/>
          </a:xfrm>
          <a:prstGeom prst="rect">
            <a:avLst/>
          </a:prstGeom>
        </p:spPr>
        <p:txBody>
          <a:bodyPr vert="horz" lIns="91620" tIns="45811" rIns="91620" bIns="45811" rtlCol="0"/>
          <a:lstStyle>
            <a:lvl1pPr algn="l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E53BB5F1-5564-408D-AF85-DB8A71E785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7047" y="2"/>
            <a:ext cx="2944281" cy="497679"/>
          </a:xfrm>
          <a:prstGeom prst="rect">
            <a:avLst/>
          </a:prstGeom>
        </p:spPr>
        <p:txBody>
          <a:bodyPr vert="horz" lIns="91620" tIns="45811" rIns="91620" bIns="45811" rtlCol="0"/>
          <a:lstStyle>
            <a:lvl1pPr algn="r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5FC51AD-3A42-4308-AE02-C4769D5FDC58}" type="datetimeFigureOut">
              <a:rPr lang="ru-RU"/>
              <a:pPr>
                <a:defRPr/>
              </a:pPr>
              <a:t>20.10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77D5B113-E6A1-4D45-8578-CCBE143AB8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6" y="9427377"/>
            <a:ext cx="2944282" cy="497679"/>
          </a:xfrm>
          <a:prstGeom prst="rect">
            <a:avLst/>
          </a:prstGeom>
        </p:spPr>
        <p:txBody>
          <a:bodyPr vert="horz" lIns="91620" tIns="45811" rIns="91620" bIns="45811" rtlCol="0" anchor="b"/>
          <a:lstStyle>
            <a:lvl1pPr algn="l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0390484A-0F79-4591-8297-BED10FBB77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7047" y="9427377"/>
            <a:ext cx="2944281" cy="497679"/>
          </a:xfrm>
          <a:prstGeom prst="rect">
            <a:avLst/>
          </a:prstGeom>
        </p:spPr>
        <p:txBody>
          <a:bodyPr vert="horz" wrap="square" lIns="91620" tIns="45811" rIns="91620" bIns="45811" numCol="1" anchor="b" anchorCtr="0" compatLnSpc="1">
            <a:prstTxWarp prst="textNoShape">
              <a:avLst/>
            </a:prstTxWarp>
          </a:bodyPr>
          <a:lstStyle>
            <a:lvl1pPr algn="r" defTabSz="916895">
              <a:defRPr sz="1200"/>
            </a:lvl1pPr>
          </a:lstStyle>
          <a:p>
            <a:fld id="{4DE45DD4-AB7F-4AB0-A750-CE638BB6A441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73823837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78572ECC-BD59-43A3-BE3D-CCCF92563A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6" y="2"/>
            <a:ext cx="2944282" cy="497679"/>
          </a:xfrm>
          <a:prstGeom prst="rect">
            <a:avLst/>
          </a:prstGeom>
        </p:spPr>
        <p:txBody>
          <a:bodyPr vert="horz" lIns="91620" tIns="45811" rIns="91620" bIns="45811" rtlCol="0"/>
          <a:lstStyle>
            <a:lvl1pPr algn="l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97BA5FEE-702A-431C-AA57-6EE660B48AC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7047" y="2"/>
            <a:ext cx="2944281" cy="497679"/>
          </a:xfrm>
          <a:prstGeom prst="rect">
            <a:avLst/>
          </a:prstGeom>
        </p:spPr>
        <p:txBody>
          <a:bodyPr vert="horz" lIns="91620" tIns="45811" rIns="91620" bIns="45811" rtlCol="0"/>
          <a:lstStyle>
            <a:lvl1pPr algn="r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3B1E05B-98FE-4E4C-803B-B55B2E198AC7}" type="datetimeFigureOut">
              <a:rPr lang="ru-RU"/>
              <a:pPr>
                <a:defRPr/>
              </a:pPr>
              <a:t>20.10.2022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xmlns="" id="{CCB2F0AD-F5D5-4C86-ACF0-E021E579649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48363" cy="3346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20" tIns="45811" rIns="91620" bIns="45811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xmlns="" id="{592FAAD7-7B62-4026-8F44-12A0F4C86D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5" y="4775499"/>
            <a:ext cx="5434012" cy="3910108"/>
          </a:xfrm>
          <a:prstGeom prst="rect">
            <a:avLst/>
          </a:prstGeom>
        </p:spPr>
        <p:txBody>
          <a:bodyPr vert="horz" lIns="91620" tIns="45811" rIns="91620" bIns="45811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E7229559-B7D3-4691-B820-0277326DCAE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6" y="9427377"/>
            <a:ext cx="2944282" cy="497679"/>
          </a:xfrm>
          <a:prstGeom prst="rect">
            <a:avLst/>
          </a:prstGeom>
        </p:spPr>
        <p:txBody>
          <a:bodyPr vert="horz" lIns="91620" tIns="45811" rIns="91620" bIns="45811" rtlCol="0" anchor="b"/>
          <a:lstStyle>
            <a:lvl1pPr algn="l" defTabSz="918382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0483DBB-AADD-48AE-8641-2F93B5BC01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7047" y="9427377"/>
            <a:ext cx="2944281" cy="497679"/>
          </a:xfrm>
          <a:prstGeom prst="rect">
            <a:avLst/>
          </a:prstGeom>
        </p:spPr>
        <p:txBody>
          <a:bodyPr vert="horz" wrap="square" lIns="91620" tIns="45811" rIns="91620" bIns="45811" numCol="1" anchor="b" anchorCtr="0" compatLnSpc="1">
            <a:prstTxWarp prst="textNoShape">
              <a:avLst/>
            </a:prstTxWarp>
          </a:bodyPr>
          <a:lstStyle>
            <a:lvl1pPr algn="r" defTabSz="916895">
              <a:defRPr sz="1200"/>
            </a:lvl1pPr>
          </a:lstStyle>
          <a:p>
            <a:fld id="{6B3E2739-4C72-4271-8277-AC94C9F4E96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54789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4285"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90156"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34439"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80310" algn="l" defTabSz="690156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27160" algn="l" defTabSz="6908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72589" algn="l" defTabSz="6908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18020" algn="l" defTabSz="6908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63452" algn="l" defTabSz="6908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>
            <a:extLst>
              <a:ext uri="{FF2B5EF4-FFF2-40B4-BE49-F238E27FC236}">
                <a16:creationId xmlns:a16="http://schemas.microsoft.com/office/drawing/2014/main" xmlns="" id="{EE74572F-61A8-440D-A715-61F48B571888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Заметки 2">
            <a:extLst>
              <a:ext uri="{FF2B5EF4-FFF2-40B4-BE49-F238E27FC236}">
                <a16:creationId xmlns:a16="http://schemas.microsoft.com/office/drawing/2014/main" xmlns="" id="{0D63A8AA-014F-42BB-9187-4C3565CB9471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5154" eaLnBrk="1" hangingPunct="1">
              <a:spcBef>
                <a:spcPct val="0"/>
              </a:spcBef>
            </a:pPr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1721943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01857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62880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9046">
              <a:defRPr/>
            </a:pPr>
            <a:fld id="{0FA0A742-A0F8-4170-9571-20F33A2CC55B}" type="slidenum">
              <a:rPr lang="ru-RU">
                <a:solidFill>
                  <a:prstClr val="black"/>
                </a:solidFill>
                <a:cs typeface="+mn-cs"/>
              </a:rPr>
              <a:pPr defTabSz="919046">
                <a:defRPr/>
              </a:pPr>
              <a:t>13</a:t>
            </a:fld>
            <a:endParaRPr lang="ru-RU">
              <a:solidFill>
                <a:prstClr val="black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74126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55208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3E2739-4C72-4271-8277-AC94C9F4E968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51600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9192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39170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9312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6190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08613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21894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0621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3.jpe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8855081" y="4981577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/>
            <a:endParaRPr lang="ru-RU" altLang="ru-RU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8114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8739040" y="4980356"/>
            <a:ext cx="95682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3860"/>
            <a:fld id="{42C328C1-A84F-4A39-A664-DBA00541A8C6}" type="slidenum">
              <a:rPr lang="en-US" sz="600" smtClean="0">
                <a:solidFill>
                  <a:srgbClr val="808080"/>
                </a:solidFill>
                <a:cs typeface="+mn-cs"/>
              </a:rPr>
              <a:pPr defTabSz="913860"/>
              <a:t>‹#›</a:t>
            </a:fld>
            <a:endParaRPr lang="en-US" sz="6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861075" y="4980356"/>
            <a:ext cx="775268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001"/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001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9331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6892904"/>
              </p:ext>
            </p:ext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8739040" y="4980356"/>
            <a:ext cx="95682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3860"/>
            <a:fld id="{42C328C1-A84F-4A39-A664-DBA00541A8C6}" type="slidenum">
              <a:rPr lang="en-US" sz="600" smtClean="0">
                <a:solidFill>
                  <a:srgbClr val="FFFFFF"/>
                </a:solidFill>
                <a:cs typeface="+mn-cs"/>
              </a:rPr>
              <a:pPr defTabSz="913860"/>
              <a:t>‹#›</a:t>
            </a:fld>
            <a:endParaRPr lang="en-US" sz="6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7861075" y="4980356"/>
            <a:ext cx="775268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001"/>
            <a:r>
              <a:rPr lang="en-US" sz="6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001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2063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1143000" y="841774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spcFirstLastPara="1" anchor="b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"/>
          <p:cNvSpPr txBox="1">
            <a:spLocks noGrp="1"/>
          </p:cNvSpPr>
          <p:nvPr>
            <p:ph type="subTitle" idx="1"/>
          </p:nvPr>
        </p:nvSpPr>
        <p:spPr>
          <a:xfrm>
            <a:off x="1143000" y="2701535"/>
            <a:ext cx="6858000" cy="1241821"/>
          </a:xfrm>
          <a:prstGeom prst="rect">
            <a:avLst/>
          </a:prstGeom>
          <a:noFill/>
          <a:ln>
            <a:noFill/>
          </a:ln>
        </p:spPr>
        <p:txBody>
          <a:bodyPr spcFirstLastPara="1">
            <a:noAutofit/>
          </a:bodyPr>
          <a:lstStyle>
            <a:lvl1pPr lvl="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40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9pPr>
          </a:lstStyle>
          <a:p>
            <a:endParaRPr/>
          </a:p>
        </p:txBody>
      </p:sp>
      <p:sp>
        <p:nvSpPr>
          <p:cNvPr id="4" name="Google Shape;12;p1"/>
          <p:cNvSpPr txBox="1">
            <a:spLocks noGrp="1"/>
          </p:cNvSpPr>
          <p:nvPr>
            <p:ph type="dt" idx="11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ln/>
        </p:spPr>
        <p:txBody>
          <a:bodyPr lIns="68529" tIns="34265" rIns="68529" bIns="34265"/>
          <a:lstStyle>
            <a:lvl1pPr>
              <a:defRPr/>
            </a:lvl1pPr>
          </a:lstStyle>
          <a:p>
            <a:pPr defTabSz="913860">
              <a:defRPr/>
            </a:pPr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5" name="Google Shape;13;p1"/>
          <p:cNvSpPr txBox="1">
            <a:spLocks noGrp="1"/>
          </p:cNvSpPr>
          <p:nvPr>
            <p:ph type="ftr" idx="12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ln/>
        </p:spPr>
        <p:txBody>
          <a:bodyPr lIns="68529" tIns="34265" rIns="68529" bIns="34265"/>
          <a:lstStyle>
            <a:lvl1pPr>
              <a:defRPr/>
            </a:lvl1pPr>
          </a:lstStyle>
          <a:p>
            <a:pPr defTabSz="913860">
              <a:defRPr/>
            </a:pPr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6" name="Google Shape;14;p1"/>
          <p:cNvSpPr txBox="1">
            <a:spLocks noGrp="1"/>
          </p:cNvSpPr>
          <p:nvPr>
            <p:ph type="sldNum" idx="13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ln/>
        </p:spPr>
        <p:txBody>
          <a:bodyPr lIns="68529" tIns="34265" rIns="68529" bIns="34265"/>
          <a:lstStyle>
            <a:lvl1pPr>
              <a:defRPr/>
            </a:lvl1pPr>
          </a:lstStyle>
          <a:p>
            <a:pPr defTabSz="913860">
              <a:defRPr/>
            </a:pPr>
            <a:fld id="{DFD0BCF4-D47E-4C67-B3E5-CB405E08B655}" type="slidenum">
              <a:rPr lang="ru-RU" alt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3860">
                <a:defRPr/>
              </a:pPr>
              <a:t>‹#›</a:t>
            </a:fld>
            <a:endParaRPr lang="ru-RU" alt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10331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3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lIns="69929" tIns="34964" rIns="69929" bIns="34964"/>
          <a:lstStyle>
            <a:lvl1pPr>
              <a:defRPr/>
            </a:lvl1pPr>
          </a:lstStyle>
          <a:p>
            <a:pPr defTabSz="913860">
              <a:defRPr/>
            </a:pPr>
            <a:endParaRPr lang="en-US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lIns="69929" tIns="34964" rIns="69929" bIns="34964"/>
          <a:lstStyle>
            <a:lvl1pPr>
              <a:defRPr/>
            </a:lvl1pPr>
          </a:lstStyle>
          <a:p>
            <a:pPr defTabSz="913860">
              <a:defRPr/>
            </a:pPr>
            <a:endParaRPr lang="en-US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20060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fld id="{B19B0651-EE4F-4900-A07F-96A6BFA9D0F0}" type="slidenum">
              <a:rPr 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3860"/>
              <a:t>‹#›</a:t>
            </a:fld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5788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377" tIns="45689" rIns="91377" bIns="45689"/>
          <a:lstStyle/>
          <a:p>
            <a:pPr defTabSz="913860"/>
            <a:fld id="{B19B0651-EE4F-4900-A07F-96A6BFA9D0F0}" type="slidenum">
              <a:rPr 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3860"/>
              <a:t>‹#›</a:t>
            </a:fld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29134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"/>
            <a:ext cx="9144070" cy="5143463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127162" y="0"/>
            <a:ext cx="7016838" cy="3036358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60" tIns="34980" rIns="69960" bIns="34980" rtlCol="0" anchor="ctr"/>
          <a:lstStyle/>
          <a:p>
            <a:pPr algn="ctr" defTabSz="914378"/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576758"/>
              </p:ext>
            </p:extLst>
          </p:nvPr>
        </p:nvGraphicFramePr>
        <p:xfrm>
          <a:off x="1623" y="121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218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378" hangingPunct="1">
              <a:defRPr/>
            </a:pPr>
            <a:endParaRPr lang="en-US" sz="800" dirty="0">
              <a:solidFill>
                <a:srgbClr val="482A06"/>
              </a:solidFill>
              <a:latin typeface="Arial"/>
              <a:cs typeface="+mn-cs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6202975" y="4785836"/>
            <a:ext cx="675372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hangingPunct="1">
              <a:defRPr/>
            </a:pPr>
            <a:r>
              <a:rPr lang="en-US" sz="6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6202977" y="4880045"/>
            <a:ext cx="2861839" cy="94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Last Modified 26/10/2019 20:56 Central Asia Standard Time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6202978" y="4974254"/>
            <a:ext cx="271424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Printed 26/10/2019 17:41 Central Asia Standard Time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14475" y="1097667"/>
            <a:ext cx="6358614" cy="376834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14475" y="2386825"/>
            <a:ext cx="6358614" cy="24376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5" y="2734449"/>
            <a:ext cx="6358614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78" hangingPunct="1">
              <a:defRPr/>
            </a:pPr>
            <a:r>
              <a:rPr lang="en-US" sz="1100" dirty="0">
                <a:solidFill>
                  <a:srgbClr val="808080"/>
                </a:solidFill>
                <a:latin typeface="Arial"/>
                <a:cs typeface="+mn-cs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128471" y="4785835"/>
            <a:ext cx="3918450" cy="274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21102" eaLnBrk="0" hangingPunct="0"/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CONFIDENTIAL AND PROPRIETARY</a:t>
            </a:r>
          </a:p>
          <a:p>
            <a:pPr defTabSz="821102" eaLnBrk="0" hangingPunct="0"/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Any use of this material without specific permission is strictly prohibited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xmlns="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17931" y="197596"/>
            <a:ext cx="1306236" cy="415405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xmlns="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US" sz="12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xmlns="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en-US" sz="12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89830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8739040" y="4980352"/>
            <a:ext cx="95682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378"/>
            <a:fld id="{42C328C1-A84F-4A39-A664-DBA00541A8C6}" type="slidenum">
              <a:rPr lang="en-US" sz="600" smtClean="0">
                <a:solidFill>
                  <a:srgbClr val="808080"/>
                </a:solidFill>
                <a:cs typeface="+mn-cs"/>
              </a:rPr>
              <a:pPr defTabSz="914378"/>
              <a:t>‹#›</a:t>
            </a:fld>
            <a:endParaRPr lang="en-US" sz="6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7861075" y="4980352"/>
            <a:ext cx="775268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15"/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415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170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7184845"/>
              </p:ext>
            </p:extLst>
          </p:nvPr>
        </p:nvGraphicFramePr>
        <p:xfrm>
          <a:off x="1216" y="1216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6" y="1216"/>
                        <a:ext cx="1214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8739040" y="4980352"/>
            <a:ext cx="95682" cy="9420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378"/>
            <a:fld id="{42C328C1-A84F-4A39-A664-DBA00541A8C6}" type="slidenum">
              <a:rPr lang="en-US" sz="600" smtClean="0">
                <a:solidFill>
                  <a:srgbClr val="FFFFFF"/>
                </a:solidFill>
                <a:cs typeface="+mn-cs"/>
              </a:rPr>
              <a:pPr defTabSz="914378"/>
              <a:t>‹#›</a:t>
            </a:fld>
            <a:endParaRPr lang="en-US" sz="6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0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7861075" y="4980352"/>
            <a:ext cx="775268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415"/>
            <a:r>
              <a:rPr lang="en-US" sz="6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415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6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3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rtlCol="0">
            <a:noAutofit/>
          </a:bodyPr>
          <a:lstStyle>
            <a:lvl1pPr>
              <a:defRPr sz="1000"/>
            </a:lvl1pPr>
          </a:lstStyle>
          <a:p>
            <a:pPr lvl="0"/>
            <a:endParaRPr lang="en-US" noProof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xmlns="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 lIns="69960" tIns="34980" rIns="69960" bIns="34980"/>
          <a:lstStyle>
            <a:lvl1pPr>
              <a:defRPr/>
            </a:lvl1pPr>
          </a:lstStyle>
          <a:p>
            <a:pPr defTabSz="914378">
              <a:defRPr/>
            </a:pPr>
            <a:endParaRPr lang="en-US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xmlns="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 lIns="69960" tIns="34980" rIns="69960" bIns="34980"/>
          <a:lstStyle>
            <a:lvl1pPr>
              <a:defRPr/>
            </a:lvl1pPr>
          </a:lstStyle>
          <a:p>
            <a:pPr defTabSz="914378">
              <a:defRPr/>
            </a:pPr>
            <a:endParaRPr lang="en-US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9644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1973BE1F-CEEA-491C-8EBB-AE18928BD57A}"/>
              </a:ext>
            </a:extLst>
          </p:cNvPr>
          <p:cNvSpPr/>
          <p:nvPr userDrawn="1"/>
        </p:nvSpPr>
        <p:spPr>
          <a:xfrm>
            <a:off x="0" y="1"/>
            <a:ext cx="9144000" cy="254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B4815F53-5F0C-45E4-B0C1-A99F9E70C698}"/>
              </a:ext>
            </a:extLst>
          </p:cNvPr>
          <p:cNvSpPr/>
          <p:nvPr userDrawn="1"/>
        </p:nvSpPr>
        <p:spPr>
          <a:xfrm>
            <a:off x="0" y="4867277"/>
            <a:ext cx="9144000" cy="2762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" y="2023365"/>
            <a:ext cx="9143999" cy="1073888"/>
          </a:xfrm>
          <a:prstGeom prst="rect">
            <a:avLst/>
          </a:prstGeom>
        </p:spPr>
        <p:txBody>
          <a:bodyPr lIns="91387" tIns="45694" rIns="91387" bIns="45694"/>
          <a:lstStyle>
            <a:lvl1pPr marL="0" indent="0" algn="ctr">
              <a:buNone/>
              <a:defRPr sz="1500"/>
            </a:lvl1pPr>
            <a:lvl2pPr marL="288590" indent="0" algn="ctr">
              <a:buNone/>
              <a:defRPr sz="1300"/>
            </a:lvl2pPr>
            <a:lvl3pPr marL="577178" indent="0" algn="ctr">
              <a:buNone/>
              <a:defRPr sz="1100"/>
            </a:lvl3pPr>
            <a:lvl4pPr marL="865769" indent="0" algn="ctr">
              <a:buNone/>
              <a:defRPr sz="1000"/>
            </a:lvl4pPr>
            <a:lvl5pPr marL="1154360" indent="0" algn="ctr">
              <a:buNone/>
              <a:defRPr sz="1000"/>
            </a:lvl5pPr>
            <a:lvl6pPr marL="1442948" indent="0" algn="ctr">
              <a:buNone/>
              <a:defRPr sz="1000"/>
            </a:lvl6pPr>
            <a:lvl7pPr marL="1731538" indent="0" algn="ctr">
              <a:buNone/>
              <a:defRPr sz="1000"/>
            </a:lvl7pPr>
            <a:lvl8pPr marL="2020129" indent="0" algn="ctr">
              <a:buNone/>
              <a:defRPr sz="1000"/>
            </a:lvl8pPr>
            <a:lvl9pPr marL="2308716" indent="0" algn="ctr">
              <a:buNone/>
              <a:defRPr sz="1000"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0904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fld id="{B19B0651-EE4F-4900-A07F-96A6BFA9D0F0}" type="slidenum">
              <a:rPr 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4378"/>
              <a:t>‹#›</a:t>
            </a:fld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36069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18" tIns="45709" rIns="91418" bIns="45709"/>
          <a:lstStyle/>
          <a:p>
            <a:pPr defTabSz="914378"/>
            <a:fld id="{B19B0651-EE4F-4900-A07F-96A6BFA9D0F0}" type="slidenum">
              <a:rPr lang="ru-RU" sz="1200" smtClean="0">
                <a:solidFill>
                  <a:srgbClr val="000000"/>
                </a:solidFill>
                <a:latin typeface="Arial" charset="0"/>
                <a:cs typeface="+mn-cs"/>
              </a:rPr>
              <a:pPr defTabSz="914378"/>
              <a:t>‹#›</a:t>
            </a:fld>
            <a:endParaRPr lang="ru-RU" sz="12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9831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орма_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855078" y="4981578"/>
            <a:ext cx="327025" cy="1619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2149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64C8AB-A359-4283-8B1E-EBE022F7DEE2}" type="slidenum">
              <a:rPr kumimoji="0" lang="ru-RU" altLang="ru-RU" sz="72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62149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72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89399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1C61A7A0-1C93-4AA0-A648-1EB41868A1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086600" y="4868863"/>
            <a:ext cx="2057400" cy="274637"/>
          </a:xfr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81FDE25-092C-446A-8BDB-6D3153C62E83}" type="slidenum"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3614055"/>
      </p:ext>
    </p:extLst>
  </p:cSld>
  <p:clrMapOvr>
    <a:masterClrMapping/>
  </p:clrMapOvr>
  <p:transition spd="slow">
    <p:push dir="u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E0F20B-E107-408F-9672-DD0CDBF9143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2851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1E9E6BF7-FB71-4B2C-8234-32C3C13624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2386018"/>
            <a:ext cx="9144000" cy="401637"/>
          </a:xfrm>
          <a:prstGeom prst="rect">
            <a:avLst/>
          </a:prstGeom>
          <a:noFill/>
          <a:ln>
            <a:noFill/>
          </a:ln>
        </p:spPr>
        <p:txBody>
          <a:bodyPr lIns="91387" tIns="45694" rIns="91387" bIns="45694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91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690711">
              <a:defRPr/>
            </a:pPr>
            <a:r>
              <a:rPr lang="kk-KZ" sz="2000" b="1" dirty="0">
                <a:latin typeface="Arial" panose="020B0604020202020204" pitchFamily="34" charset="0"/>
              </a:rPr>
              <a:t>Дополнительные материалы:</a:t>
            </a:r>
            <a:endParaRPr lang="ru-RU" sz="2000" b="1" dirty="0">
              <a:latin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43ED1636-1B7C-47FD-9855-16716C79A2AD}"/>
              </a:ext>
            </a:extLst>
          </p:cNvPr>
          <p:cNvSpPr/>
          <p:nvPr userDrawn="1"/>
        </p:nvSpPr>
        <p:spPr>
          <a:xfrm>
            <a:off x="0" y="1"/>
            <a:ext cx="9144000" cy="254000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CE56EDEA-D39B-46FF-8D9F-E5C67D1A51D0}"/>
              </a:ext>
            </a:extLst>
          </p:cNvPr>
          <p:cNvSpPr/>
          <p:nvPr userDrawn="1"/>
        </p:nvSpPr>
        <p:spPr>
          <a:xfrm>
            <a:off x="0" y="4867277"/>
            <a:ext cx="9144000" cy="276225"/>
          </a:xfrm>
          <a:prstGeom prst="rect">
            <a:avLst/>
          </a:prstGeom>
          <a:solidFill>
            <a:srgbClr val="0065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eaLnBrk="0" hangingPunct="0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37909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xmlns="" id="{A04B0D3F-F0E0-4E73-9BAE-AB70A2F81154}"/>
              </a:ext>
            </a:extLst>
          </p:cNvPr>
          <p:cNvCxnSpPr/>
          <p:nvPr userDrawn="1"/>
        </p:nvCxnSpPr>
        <p:spPr>
          <a:xfrm>
            <a:off x="0" y="558800"/>
            <a:ext cx="9144000" cy="0"/>
          </a:xfrm>
          <a:prstGeom prst="line">
            <a:avLst/>
          </a:prstGeom>
          <a:ln w="38100" cmpd="tri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8B877FB5-FE00-46F7-8A51-590F5A3D9941}"/>
              </a:ext>
            </a:extLst>
          </p:cNvPr>
          <p:cNvCxnSpPr/>
          <p:nvPr userDrawn="1"/>
        </p:nvCxnSpPr>
        <p:spPr>
          <a:xfrm flipV="1">
            <a:off x="0" y="4976813"/>
            <a:ext cx="9144000" cy="0"/>
          </a:xfrm>
          <a:prstGeom prst="line">
            <a:avLst/>
          </a:prstGeom>
          <a:ln w="25400">
            <a:solidFill>
              <a:srgbClr val="00A6C8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ACC8B1BF-F2E5-49AE-85CA-30FF03FBF646}"/>
              </a:ext>
            </a:extLst>
          </p:cNvPr>
          <p:cNvSpPr/>
          <p:nvPr userDrawn="1"/>
        </p:nvSpPr>
        <p:spPr>
          <a:xfrm>
            <a:off x="8816981" y="4981577"/>
            <a:ext cx="327025" cy="161925"/>
          </a:xfrm>
          <a:prstGeom prst="rect">
            <a:avLst/>
          </a:prstGeom>
          <a:solidFill>
            <a:srgbClr val="00A6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/>
            <a:fld id="{4D36119D-01E7-4561-897C-19765EA65051}" type="slidenum">
              <a:rPr lang="ru-RU" altLang="ru-RU" sz="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xmlns="" id="{48576C9B-AF49-4C95-9ABE-23AD58660D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" y="5002214"/>
            <a:ext cx="2417763" cy="141287"/>
          </a:xfrm>
          <a:prstGeom prst="rect">
            <a:avLst/>
          </a:prstGeom>
        </p:spPr>
        <p:txBody>
          <a:bodyPr lIns="91387" tIns="45694" rIns="91387" bIns="45694"/>
          <a:lstStyle>
            <a:lvl1pPr eaLnBrk="0" hangingPunct="0">
              <a:defRPr sz="6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FEE6B682-F4B8-4C59-99E1-8C7BC685E5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55881" y="5002214"/>
            <a:ext cx="4721225" cy="141287"/>
          </a:xfrm>
          <a:prstGeom prst="rect">
            <a:avLst/>
          </a:prstGeom>
        </p:spPr>
        <p:txBody>
          <a:bodyPr lIns="91387" tIns="45694" rIns="91387" bIns="45694"/>
          <a:lstStyle>
            <a:lvl1pPr eaLnBrk="0" hangingPunct="0">
              <a:defRPr sz="6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0795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16E1790-4FD2-40DD-A50B-1254B0D50241}"/>
              </a:ext>
            </a:extLst>
          </p:cNvPr>
          <p:cNvSpPr txBox="1"/>
          <p:nvPr userDrawn="1"/>
        </p:nvSpPr>
        <p:spPr>
          <a:xfrm>
            <a:off x="79375" y="2363789"/>
            <a:ext cx="9144000" cy="439737"/>
          </a:xfrm>
          <a:prstGeom prst="rect">
            <a:avLst/>
          </a:prstGeom>
          <a:noFill/>
        </p:spPr>
        <p:txBody>
          <a:bodyPr lIns="91387" tIns="45694" rIns="91387" bIns="45694">
            <a:spAutoFit/>
          </a:bodyPr>
          <a:lstStyle/>
          <a:p>
            <a:pPr algn="ctr" defTabSz="69086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sz="2200" b="1" cap="small" dirty="0">
                <a:solidFill>
                  <a:srgbClr val="00A6C8"/>
                </a:solidFill>
                <a:latin typeface="Arial" panose="020B0604020202020204" pitchFamily="34" charset="0"/>
              </a:rPr>
              <a:t>Благодарю за внимание!</a:t>
            </a:r>
            <a:endParaRPr lang="ru-RU" sz="2200" b="1" cap="small" dirty="0">
              <a:solidFill>
                <a:srgbClr val="00A6C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398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"/>
            <a:ext cx="9144070" cy="5143463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127162" y="2"/>
            <a:ext cx="7016838" cy="3036358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29" tIns="34964" rIns="69929" bIns="34964" rtlCol="0" anchor="ctr"/>
          <a:lstStyle/>
          <a:p>
            <a:pPr algn="ctr" defTabSz="913860"/>
            <a:endParaRPr lang="en-US" sz="1200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826642"/>
              </p:ext>
            </p:extLst>
          </p:nvPr>
        </p:nvGraphicFramePr>
        <p:xfrm>
          <a:off x="1623" y="1218"/>
          <a:ext cx="1619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218"/>
                        <a:ext cx="1619" cy="121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696930" y="27942"/>
            <a:ext cx="301290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60" hangingPunct="1">
              <a:defRPr/>
            </a:pPr>
            <a:endParaRPr lang="en-US" sz="800" dirty="0">
              <a:solidFill>
                <a:srgbClr val="482A06"/>
              </a:solidFill>
              <a:latin typeface="Arial"/>
              <a:cs typeface="+mn-cs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6202975" y="4785839"/>
            <a:ext cx="675372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60" hangingPunct="1">
              <a:defRPr/>
            </a:pPr>
            <a:r>
              <a:rPr lang="en-US" sz="6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6202977" y="4880045"/>
            <a:ext cx="2861839" cy="94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60"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Last Modified 26/10/2019 20:56 Central Asia Standard Time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6202982" y="4974257"/>
            <a:ext cx="271424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60" hangingPunct="1">
              <a:defRPr/>
            </a:pPr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Printed 26/10/2019 17:41 Central Asia Standard Time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2314475" y="1097667"/>
            <a:ext cx="6358614" cy="376834"/>
          </a:xfrm>
          <a:prstGeom prst="rect">
            <a:avLst/>
          </a:prstGeom>
        </p:spPr>
        <p:txBody>
          <a:bodyPr/>
          <a:lstStyle>
            <a:lvl1pPr>
              <a:defRPr sz="24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314475" y="2386825"/>
            <a:ext cx="6358614" cy="24373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1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314475" y="2734449"/>
            <a:ext cx="6358614" cy="1731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60" hangingPunct="1">
              <a:defRPr/>
            </a:pPr>
            <a:r>
              <a:rPr lang="en-US" sz="1100" dirty="0">
                <a:solidFill>
                  <a:srgbClr val="808080"/>
                </a:solidFill>
                <a:latin typeface="Arial"/>
                <a:cs typeface="+mn-cs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128471" y="4785835"/>
            <a:ext cx="3918450" cy="274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20730" eaLnBrk="0" hangingPunct="0"/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CONFIDENTIAL AND PROPRIETARY</a:t>
            </a:r>
          </a:p>
          <a:p>
            <a:pPr defTabSz="820730" eaLnBrk="0" hangingPunct="0"/>
            <a:r>
              <a:rPr lang="en-US" sz="600">
                <a:solidFill>
                  <a:srgbClr val="FFFFFF"/>
                </a:solidFill>
                <a:latin typeface="Arial"/>
                <a:cs typeface="+mn-cs"/>
              </a:rPr>
              <a:t>Any use of this material without specific permission is strictly prohibited</a:t>
            </a:r>
            <a:endParaRPr lang="en-US" sz="6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pSp>
        <p:nvGrpSpPr>
          <p:cNvPr id="15" name="LogoImage" hidden="1">
            <a:extLst>
              <a:ext uri="{FF2B5EF4-FFF2-40B4-BE49-F238E27FC236}">
                <a16:creationId xmlns:a16="http://schemas.microsoft.com/office/drawing/2014/main" xmlns="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317932" y="197600"/>
            <a:ext cx="1306236" cy="415405"/>
            <a:chOff x="0" y="973"/>
            <a:chExt cx="7680" cy="2374"/>
          </a:xfrm>
        </p:grpSpPr>
        <p:sp>
          <p:nvSpPr>
            <p:cNvPr id="16" name="AutoShape 3" hidden="1">
              <a:extLst>
                <a:ext uri="{FF2B5EF4-FFF2-40B4-BE49-F238E27FC236}">
                  <a16:creationId xmlns:a16="http://schemas.microsoft.com/office/drawing/2014/main" xmlns="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60"/>
              <a:endParaRPr lang="en-US" sz="12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" name="Freeform 5" hidden="1">
              <a:extLst>
                <a:ext uri="{FF2B5EF4-FFF2-40B4-BE49-F238E27FC236}">
                  <a16:creationId xmlns:a16="http://schemas.microsoft.com/office/drawing/2014/main" xmlns="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860"/>
              <a:endParaRPr lang="en-US" sz="120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8245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image" Target="../media/image1.emf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1.v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34.xml"/><Relationship Id="rId7" Type="http://schemas.openxmlformats.org/officeDocument/2006/relationships/theme" Target="../theme/theme4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5" Type="http://schemas.openxmlformats.org/officeDocument/2006/relationships/tags" Target="../tags/tag38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24.xml"/><Relationship Id="rId24" Type="http://schemas.openxmlformats.org/officeDocument/2006/relationships/tags" Target="../tags/tag37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28.xml"/><Relationship Id="rId23" Type="http://schemas.openxmlformats.org/officeDocument/2006/relationships/tags" Target="../tags/tag36.xml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4FF0FF34-FD67-4FA8-8722-1BE055B3FF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9"/>
            <a:ext cx="2057400" cy="274637"/>
          </a:xfrm>
          <a:prstGeom prst="rect">
            <a:avLst/>
          </a:prstGeom>
        </p:spPr>
        <p:txBody>
          <a:bodyPr vert="horz" lIns="91387" tIns="45694" rIns="91387" bIns="45694" rtlCol="0" anchor="ctr"/>
          <a:lstStyle>
            <a:lvl1pPr algn="l" defTabSz="690864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2DA49AF-B2F5-4940-B7DA-1083FF992E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9"/>
            <a:ext cx="3086100" cy="274637"/>
          </a:xfrm>
          <a:prstGeom prst="rect">
            <a:avLst/>
          </a:prstGeom>
        </p:spPr>
        <p:txBody>
          <a:bodyPr vert="horz" lIns="91387" tIns="45694" rIns="91387" bIns="45694" rtlCol="0" anchor="ctr"/>
          <a:lstStyle>
            <a:lvl1pPr algn="ctr" defTabSz="690864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A5ACD74-7170-495E-A23C-CF79960451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9"/>
            <a:ext cx="2057400" cy="274637"/>
          </a:xfrm>
          <a:prstGeom prst="rect">
            <a:avLst/>
          </a:prstGeom>
        </p:spPr>
        <p:txBody>
          <a:bodyPr vert="horz" wrap="square" lIns="91387" tIns="45694" rIns="91387" bIns="45694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98989"/>
                </a:solidFill>
              </a:defRPr>
            </a:lvl1pPr>
          </a:lstStyle>
          <a:p>
            <a:fld id="{842D390D-45D5-4AE3-9510-907C3B8A6678}" type="slidenum">
              <a:rPr lang="ru-RU" altLang="ru-RU"/>
              <a:pPr/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13" r:id="rId1"/>
    <p:sldLayoutId id="2147485114" r:id="rId2"/>
    <p:sldLayoutId id="2147485140" r:id="rId3"/>
    <p:sldLayoutId id="2147485141" r:id="rId4"/>
    <p:sldLayoutId id="2147485142" r:id="rId5"/>
  </p:sldLayoutIdLst>
  <p:hf hdr="0" ftr="0" dt="0"/>
  <p:txStyles>
    <p:titleStyle>
      <a:lvl1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394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6929" algn="l" defTabSz="685394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3860" algn="l" defTabSz="685394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0791" algn="l" defTabSz="685394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7719" algn="l" defTabSz="685394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350" indent="-171350" algn="l" defTabSz="685394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047" indent="-171350" algn="l" defTabSz="685394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6744" indent="-171350" algn="l" defTabSz="685394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9441" indent="-171350" algn="l" defTabSz="685394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139" indent="-171350" algn="l" defTabSz="685394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4836" indent="-171350" algn="l" defTabSz="6853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535" indent="-171350" algn="l" defTabSz="6853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231" indent="-171350" algn="l" defTabSz="6853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930" indent="-171350" algn="l" defTabSz="685394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98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94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91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791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488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186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882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581" algn="l" defTabSz="685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5116" r:id="rId1"/>
    <p:sldLayoutId id="2147485117" r:id="rId2"/>
    <p:sldLayoutId id="2147485118" r:id="rId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56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13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0697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262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350" indent="-1713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047" indent="-1713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332" indent="-1713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028" indent="-1713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311" indent="-1713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9611" indent="-171783" algn="l" defTabSz="68713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3176" indent="-171783" algn="l" defTabSz="68713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6741" indent="-171783" algn="l" defTabSz="68713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0308" indent="-171783" algn="l" defTabSz="68713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565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131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697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262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828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1395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4961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8525" algn="l" defTabSz="68713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7466973"/>
              </p:ext>
            </p:extLst>
          </p:nvPr>
        </p:nvGraphicFramePr>
        <p:xfrm>
          <a:off x="0" y="2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2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860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001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6" y="176155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5" y="57982"/>
            <a:ext cx="37536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860"/>
            <a:r>
              <a:rPr lang="en-US" sz="6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6" y="424608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>
                <a:solidFill>
                  <a:srgbClr val="808080"/>
                </a:solidFill>
                <a:latin typeface="Arial"/>
                <a:cs typeface="+mn-cs"/>
              </a:rPr>
              <a:t>CLIENT</a:t>
            </a:r>
            <a:endParaRPr lang="en-US" sz="12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90" y="4825529"/>
            <a:ext cx="8722840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559" indent="-65559">
              <a:defRPr/>
            </a:pPr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4979810"/>
            <a:ext cx="7616490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7567" indent="-377567" defTabSz="913001"/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8" y="960048"/>
            <a:ext cx="4350891" cy="39116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860"/>
              <a:r>
                <a:rPr lang="en-US" sz="1200" b="1" dirty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3860"/>
              <a:r>
                <a:rPr lang="en-US" sz="12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54463" y="218665"/>
            <a:ext cx="361125" cy="120033"/>
            <a:chOff x="8386865" y="285750"/>
            <a:chExt cx="353916" cy="15685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65" y="285750"/>
              <a:ext cx="353916" cy="15685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001">
                <a:buClr>
                  <a:srgbClr val="002960"/>
                </a:buClr>
              </a:pPr>
              <a:r>
                <a:rPr lang="en-US" sz="6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5" y="285750"/>
              <a:ext cx="0" cy="15685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5" y="442609"/>
              <a:ext cx="3539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8331143" y="213809"/>
            <a:ext cx="584460" cy="763295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8095596" y="213812"/>
            <a:ext cx="820008" cy="558813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860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8280120" y="191940"/>
            <a:ext cx="635482" cy="999790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3860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4717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9002413" y="4979810"/>
            <a:ext cx="34986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29" tIns="34964" rIns="69929" bIns="34964" rtlCol="0" anchor="ctr"/>
          <a:lstStyle/>
          <a:p>
            <a:pPr algn="ctr" defTabSz="913860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A6E9530-8A61-4FB2-B77C-785AE2D43B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068" y="1369090"/>
            <a:ext cx="7887869" cy="1012740"/>
          </a:xfrm>
          <a:prstGeom prst="rect">
            <a:avLst/>
          </a:prstGeom>
        </p:spPr>
        <p:txBody>
          <a:bodyPr vert="horz" lIns="69929" tIns="34964" rIns="69929" bIns="34964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2660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</p:sldLayoutIdLst>
  <p:hf hdr="0" ftr="0" dt="0"/>
  <p:txStyles>
    <p:titleStyle>
      <a:lvl1pPr algn="l" defTabSz="913001" rtl="0" eaLnBrk="1" fontAlgn="base" hangingPunct="1">
        <a:spcBef>
          <a:spcPct val="0"/>
        </a:spcBef>
        <a:spcAft>
          <a:spcPct val="0"/>
        </a:spcAft>
        <a:tabLst>
          <a:tab pos="275196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212"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428"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642"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856" algn="l" defTabSz="91300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667" indent="-145914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1381" indent="-189963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0780" indent="-118385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2643" indent="-99110" algn="l" defTabSz="684717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4590" indent="-132742" algn="l" defTabSz="9130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590" indent="-132742" algn="l" defTabSz="9130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590" indent="-132742" algn="l" defTabSz="9130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590" indent="-132742" algn="l" defTabSz="91300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12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28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642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856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068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285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497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711" algn="l" defTabSz="932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41214097"/>
              </p:ext>
            </p:extLst>
          </p:nvPr>
        </p:nvGraphicFramePr>
        <p:xfrm>
          <a:off x="0" y="2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"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2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378"/>
            <a:endParaRPr lang="en-US" sz="16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7993503" y="38876"/>
            <a:ext cx="923672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913415"/>
            <a:endParaRPr lang="en-US" sz="5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2" y="176150"/>
            <a:ext cx="8794113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91" y="57979"/>
            <a:ext cx="375367" cy="94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78"/>
            <a:r>
              <a:rPr lang="en-US" sz="6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92" y="424604"/>
            <a:ext cx="8794113" cy="188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>
                <a:solidFill>
                  <a:srgbClr val="808080"/>
                </a:solidFill>
                <a:latin typeface="Arial"/>
                <a:cs typeface="+mn-cs"/>
              </a:rPr>
              <a:t>CLIENT</a:t>
            </a:r>
            <a:endParaRPr lang="en-US" sz="12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90" y="4825525"/>
            <a:ext cx="8722840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588" indent="-65588">
              <a:defRPr/>
            </a:pPr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4979806"/>
            <a:ext cx="7616490" cy="94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77737" indent="-377737" defTabSz="913415"/>
            <a:r>
              <a:rPr lang="en-US" sz="600" dirty="0">
                <a:solidFill>
                  <a:srgbClr val="808080"/>
                </a:solidFill>
                <a:latin typeface="Arial"/>
                <a:cs typeface="+mn-cs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7" y="960048"/>
            <a:ext cx="4350891" cy="391168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78"/>
              <a:r>
                <a:rPr lang="en-US" sz="1200" b="1" dirty="0">
                  <a:solidFill>
                    <a:srgbClr val="000000"/>
                  </a:solidFill>
                  <a:latin typeface="Arial"/>
                  <a:cs typeface="+mn-cs"/>
                </a:rPr>
                <a:t>Title</a:t>
              </a:r>
            </a:p>
            <a:p>
              <a:pPr defTabSz="914378"/>
              <a:r>
                <a:rPr lang="en-US" sz="12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554453" y="218665"/>
            <a:ext cx="361125" cy="120033"/>
            <a:chOff x="8386861" y="285750"/>
            <a:chExt cx="353916" cy="15685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6861" y="285750"/>
              <a:ext cx="353916" cy="15685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15">
                <a:buClr>
                  <a:srgbClr val="002960"/>
                </a:buClr>
              </a:pPr>
              <a:r>
                <a:rPr lang="en-US" sz="6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6861" y="285750"/>
              <a:ext cx="0" cy="15685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6861" y="442609"/>
              <a:ext cx="35391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/>
        </p:nvGrpSpPr>
        <p:grpSpPr bwMode="gray">
          <a:xfrm>
            <a:off x="8331143" y="213809"/>
            <a:ext cx="584460" cy="763295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/>
        </p:nvGrpSpPr>
        <p:grpSpPr bwMode="gray">
          <a:xfrm>
            <a:off x="8095596" y="213809"/>
            <a:ext cx="820008" cy="558813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78"/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/>
        </p:nvGrpSpPr>
        <p:grpSpPr bwMode="gray">
          <a:xfrm>
            <a:off x="8280120" y="191940"/>
            <a:ext cx="635482" cy="999790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78"/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028">
                <a:buClr>
                  <a:srgbClr val="002960"/>
                </a:buClr>
              </a:pPr>
              <a:r>
                <a:rPr lang="en-US" sz="9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/>
        </p:nvSpPr>
        <p:spPr>
          <a:xfrm>
            <a:off x="9002413" y="4979806"/>
            <a:ext cx="34986" cy="947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60" tIns="34980" rIns="69960" bIns="34980" rtlCol="0" anchor="ctr"/>
          <a:lstStyle/>
          <a:p>
            <a:pPr algn="ctr" defTabSz="914378"/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A6E9530-8A61-4FB2-B77C-785AE2D43B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068" y="1369090"/>
            <a:ext cx="7887869" cy="1012740"/>
          </a:xfrm>
          <a:prstGeom prst="rect">
            <a:avLst/>
          </a:prstGeom>
        </p:spPr>
        <p:txBody>
          <a:bodyPr vert="horz" lIns="69960" tIns="34980" rIns="69960" bIns="3498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5875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2" r:id="rId1"/>
    <p:sldLayoutId id="2147485133" r:id="rId2"/>
    <p:sldLayoutId id="2147485134" r:id="rId3"/>
    <p:sldLayoutId id="2147485136" r:id="rId4"/>
    <p:sldLayoutId id="2147485137" r:id="rId5"/>
    <p:sldLayoutId id="2147485138" r:id="rId6"/>
  </p:sldLayoutIdLst>
  <p:hf hdr="0" ftr="0" dt="0"/>
  <p:txStyles>
    <p:titleStyle>
      <a:lvl1pPr algn="l" defTabSz="913415" rtl="0" eaLnBrk="1" fontAlgn="base" hangingPunct="1">
        <a:spcBef>
          <a:spcPct val="0"/>
        </a:spcBef>
        <a:spcAft>
          <a:spcPct val="0"/>
        </a:spcAft>
        <a:tabLst>
          <a:tab pos="275320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24"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51"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74"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699" algn="l" defTabSz="91341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48734" indent="-145979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341537" indent="-190049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470993" indent="-118437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572903" indent="-99155" algn="l" defTabSz="685028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2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764936" indent="-132802" algn="l" defTabSz="9134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36" indent="-132802" algn="l" defTabSz="9134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36" indent="-132802" algn="l" defTabSz="9134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36" indent="-132802" algn="l" defTabSz="91341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24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51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74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99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24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50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74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399" algn="l" defTabSz="9328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1.xml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3">
            <a:extLst>
              <a:ext uri="{FF2B5EF4-FFF2-40B4-BE49-F238E27FC236}">
                <a16:creationId xmlns:a16="http://schemas.microsoft.com/office/drawing/2014/main" xmlns="" id="{0BE088F7-3E2C-43B5-B436-DD3B834E71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39645" y="4561687"/>
            <a:ext cx="3071813" cy="280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7" tIns="45694" rIns="91387" bIns="45694">
            <a:spAutoFit/>
          </a:bodyPr>
          <a:lstStyle/>
          <a:p>
            <a:pPr algn="ctr"/>
            <a:r>
              <a:rPr lang="ru-RU" altLang="ru-RU" sz="1200" b="1" dirty="0">
                <a:solidFill>
                  <a:srgbClr val="002060"/>
                </a:solidFill>
                <a:latin typeface="Arial" panose="020B0604020202020204" pitchFamily="34" charset="0"/>
              </a:rPr>
              <a:t>г. </a:t>
            </a:r>
            <a:r>
              <a:rPr lang="ru-RU" altLang="ru-RU" sz="12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Астана, 2022 год</a:t>
            </a:r>
            <a:endParaRPr lang="ru-RU" altLang="ru-RU" sz="12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8195" name="TextBox 4">
            <a:extLst>
              <a:ext uri="{FF2B5EF4-FFF2-40B4-BE49-F238E27FC236}">
                <a16:creationId xmlns:a16="http://schemas.microsoft.com/office/drawing/2014/main" xmlns="" id="{925D908F-090E-45C4-864C-B73388E25E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9075" y="2000705"/>
            <a:ext cx="7356974" cy="830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7" tIns="45694" rIns="91387" bIns="45694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sz="2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ЗАКОНОПРОЕКТЫ </a:t>
            </a:r>
          </a:p>
          <a:p>
            <a:pPr algn="ctr" eaLnBrk="1" hangingPunct="1"/>
            <a:r>
              <a:rPr lang="ru-RU" altLang="ru-RU" sz="2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О </a:t>
            </a:r>
            <a:r>
              <a:rPr lang="ru-RU" altLang="ru-RU" sz="2400" b="1" dirty="0">
                <a:solidFill>
                  <a:srgbClr val="002060"/>
                </a:solidFill>
                <a:latin typeface="Arial" panose="020B0604020202020204" pitchFamily="34" charset="0"/>
              </a:rPr>
              <a:t>РАЗВИТИИ </a:t>
            </a:r>
            <a:r>
              <a:rPr lang="ru-RU" altLang="ru-RU" sz="2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АГЛОМЕРАЦИЙ</a:t>
            </a:r>
            <a:endParaRPr lang="ru-RU" altLang="ru-RU" sz="24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grpSp>
        <p:nvGrpSpPr>
          <p:cNvPr id="8196" name="Группа 21">
            <a:extLst>
              <a:ext uri="{FF2B5EF4-FFF2-40B4-BE49-F238E27FC236}">
                <a16:creationId xmlns:a16="http://schemas.microsoft.com/office/drawing/2014/main" xmlns="" id="{E4291174-E308-4C93-9AE4-653F1ED08D7E}"/>
              </a:ext>
            </a:extLst>
          </p:cNvPr>
          <p:cNvGrpSpPr>
            <a:grpSpLocks/>
          </p:cNvGrpSpPr>
          <p:nvPr/>
        </p:nvGrpSpPr>
        <p:grpSpPr bwMode="auto">
          <a:xfrm>
            <a:off x="463551" y="2947994"/>
            <a:ext cx="971550" cy="1851025"/>
            <a:chOff x="464265" y="2731224"/>
            <a:chExt cx="970344" cy="1850030"/>
          </a:xfrm>
        </p:grpSpPr>
        <p:sp>
          <p:nvSpPr>
            <p:cNvPr id="6" name="Graphic 1">
              <a:extLst>
                <a:ext uri="{FF2B5EF4-FFF2-40B4-BE49-F238E27FC236}">
                  <a16:creationId xmlns:a16="http://schemas.microsoft.com/office/drawing/2014/main" xmlns="" id="{F83CF686-0917-4C96-AAC3-AD054DE35E74}"/>
                </a:ext>
              </a:extLst>
            </p:cNvPr>
            <p:cNvSpPr/>
            <p:nvPr/>
          </p:nvSpPr>
          <p:spPr>
            <a:xfrm>
              <a:off x="464265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7" name="Graphic 1">
              <a:extLst>
                <a:ext uri="{FF2B5EF4-FFF2-40B4-BE49-F238E27FC236}">
                  <a16:creationId xmlns:a16="http://schemas.microsoft.com/office/drawing/2014/main" xmlns="" id="{1FE7C61E-AE9B-48EC-AD6E-53EEEB049910}"/>
                </a:ext>
              </a:extLst>
            </p:cNvPr>
            <p:cNvSpPr/>
            <p:nvPr/>
          </p:nvSpPr>
          <p:spPr>
            <a:xfrm>
              <a:off x="949437" y="2731224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8" name="Graphic 1">
              <a:extLst>
                <a:ext uri="{FF2B5EF4-FFF2-40B4-BE49-F238E27FC236}">
                  <a16:creationId xmlns:a16="http://schemas.microsoft.com/office/drawing/2014/main" xmlns="" id="{DA7CDF5A-854C-4D6D-8BB3-6DC758654544}"/>
                </a:ext>
              </a:extLst>
            </p:cNvPr>
            <p:cNvSpPr/>
            <p:nvPr/>
          </p:nvSpPr>
          <p:spPr>
            <a:xfrm>
              <a:off x="464265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9" name="Graphic 1">
              <a:extLst>
                <a:ext uri="{FF2B5EF4-FFF2-40B4-BE49-F238E27FC236}">
                  <a16:creationId xmlns:a16="http://schemas.microsoft.com/office/drawing/2014/main" xmlns="" id="{FADE55FA-53B8-4D2A-8AB8-4E04F071D48C}"/>
                </a:ext>
              </a:extLst>
            </p:cNvPr>
            <p:cNvSpPr/>
            <p:nvPr/>
          </p:nvSpPr>
          <p:spPr>
            <a:xfrm>
              <a:off x="949437" y="3189764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10" name="Graphic 1">
              <a:extLst>
                <a:ext uri="{FF2B5EF4-FFF2-40B4-BE49-F238E27FC236}">
                  <a16:creationId xmlns:a16="http://schemas.microsoft.com/office/drawing/2014/main" xmlns="" id="{009DAC32-8BB9-4A28-A599-F4454B1CB7D7}"/>
                </a:ext>
              </a:extLst>
            </p:cNvPr>
            <p:cNvSpPr/>
            <p:nvPr/>
          </p:nvSpPr>
          <p:spPr>
            <a:xfrm>
              <a:off x="464265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11" name="Graphic 1">
              <a:extLst>
                <a:ext uri="{FF2B5EF4-FFF2-40B4-BE49-F238E27FC236}">
                  <a16:creationId xmlns:a16="http://schemas.microsoft.com/office/drawing/2014/main" xmlns="" id="{946FA3E9-E8AB-4C7E-B4FC-3CA4D685A665}"/>
                </a:ext>
              </a:extLst>
            </p:cNvPr>
            <p:cNvSpPr/>
            <p:nvPr/>
          </p:nvSpPr>
          <p:spPr>
            <a:xfrm>
              <a:off x="949437" y="3648306"/>
              <a:ext cx="485172" cy="474407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12" name="Graphic 1">
              <a:extLst>
                <a:ext uri="{FF2B5EF4-FFF2-40B4-BE49-F238E27FC236}">
                  <a16:creationId xmlns:a16="http://schemas.microsoft.com/office/drawing/2014/main" xmlns="" id="{A33647AC-2C81-4666-9218-2D26CA8F3F35}"/>
                </a:ext>
              </a:extLst>
            </p:cNvPr>
            <p:cNvSpPr/>
            <p:nvPr/>
          </p:nvSpPr>
          <p:spPr>
            <a:xfrm>
              <a:off x="464265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13" name="Graphic 1">
              <a:extLst>
                <a:ext uri="{FF2B5EF4-FFF2-40B4-BE49-F238E27FC236}">
                  <a16:creationId xmlns:a16="http://schemas.microsoft.com/office/drawing/2014/main" xmlns="" id="{60A02320-CCF6-409B-AB32-321B523A727D}"/>
                </a:ext>
              </a:extLst>
            </p:cNvPr>
            <p:cNvSpPr/>
            <p:nvPr/>
          </p:nvSpPr>
          <p:spPr>
            <a:xfrm>
              <a:off x="949437" y="4106846"/>
              <a:ext cx="485172" cy="474408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</p:grpSp>
      <p:pic>
        <p:nvPicPr>
          <p:cNvPr id="5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xmlns="" id="{D797B556-91EA-49B2-B8B6-22215D274621}"/>
              </a:ext>
            </a:extLst>
          </p:cNvPr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9577" y="1827214"/>
            <a:ext cx="1079500" cy="108108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198" name="Группа 29">
            <a:extLst>
              <a:ext uri="{FF2B5EF4-FFF2-40B4-BE49-F238E27FC236}">
                <a16:creationId xmlns:a16="http://schemas.microsoft.com/office/drawing/2014/main" xmlns="" id="{E97A346B-23BB-4989-9CBA-D6F3D03B1786}"/>
              </a:ext>
            </a:extLst>
          </p:cNvPr>
          <p:cNvGrpSpPr>
            <a:grpSpLocks/>
          </p:cNvGrpSpPr>
          <p:nvPr/>
        </p:nvGrpSpPr>
        <p:grpSpPr bwMode="auto">
          <a:xfrm>
            <a:off x="463551" y="315914"/>
            <a:ext cx="971550" cy="1392237"/>
            <a:chOff x="464265" y="499361"/>
            <a:chExt cx="970344" cy="1391523"/>
          </a:xfrm>
        </p:grpSpPr>
        <p:sp>
          <p:nvSpPr>
            <p:cNvPr id="38" name="Graphic 1">
              <a:extLst>
                <a:ext uri="{FF2B5EF4-FFF2-40B4-BE49-F238E27FC236}">
                  <a16:creationId xmlns:a16="http://schemas.microsoft.com/office/drawing/2014/main" xmlns="" id="{00D6DCD4-3DCA-47BA-BDB2-BCF7FFD5969A}"/>
                </a:ext>
              </a:extLst>
            </p:cNvPr>
            <p:cNvSpPr/>
            <p:nvPr/>
          </p:nvSpPr>
          <p:spPr>
            <a:xfrm>
              <a:off x="464265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39" name="Graphic 1">
              <a:extLst>
                <a:ext uri="{FF2B5EF4-FFF2-40B4-BE49-F238E27FC236}">
                  <a16:creationId xmlns:a16="http://schemas.microsoft.com/office/drawing/2014/main" xmlns="" id="{D4189F92-1E9C-417A-84CC-768F9834F425}"/>
                </a:ext>
              </a:extLst>
            </p:cNvPr>
            <p:cNvSpPr/>
            <p:nvPr/>
          </p:nvSpPr>
          <p:spPr>
            <a:xfrm>
              <a:off x="949437" y="499361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40" name="Graphic 1">
              <a:extLst>
                <a:ext uri="{FF2B5EF4-FFF2-40B4-BE49-F238E27FC236}">
                  <a16:creationId xmlns:a16="http://schemas.microsoft.com/office/drawing/2014/main" xmlns="" id="{05463BBC-9909-4384-B60B-186B61A9A10A}"/>
                </a:ext>
              </a:extLst>
            </p:cNvPr>
            <p:cNvSpPr/>
            <p:nvPr/>
          </p:nvSpPr>
          <p:spPr>
            <a:xfrm>
              <a:off x="464265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41" name="Graphic 1">
              <a:extLst>
                <a:ext uri="{FF2B5EF4-FFF2-40B4-BE49-F238E27FC236}">
                  <a16:creationId xmlns:a16="http://schemas.microsoft.com/office/drawing/2014/main" xmlns="" id="{0BBE924C-8BA5-4223-847A-158C96C0F301}"/>
                </a:ext>
              </a:extLst>
            </p:cNvPr>
            <p:cNvSpPr/>
            <p:nvPr/>
          </p:nvSpPr>
          <p:spPr>
            <a:xfrm>
              <a:off x="949437" y="957913"/>
              <a:ext cx="485172" cy="474420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42" name="Graphic 1">
              <a:extLst>
                <a:ext uri="{FF2B5EF4-FFF2-40B4-BE49-F238E27FC236}">
                  <a16:creationId xmlns:a16="http://schemas.microsoft.com/office/drawing/2014/main" xmlns="" id="{3ABDEC94-5853-4E6A-8D09-08CC37B5BCED}"/>
                </a:ext>
              </a:extLst>
            </p:cNvPr>
            <p:cNvSpPr/>
            <p:nvPr/>
          </p:nvSpPr>
          <p:spPr>
            <a:xfrm>
              <a:off x="464265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  <p:sp>
          <p:nvSpPr>
            <p:cNvPr id="43" name="Graphic 1">
              <a:extLst>
                <a:ext uri="{FF2B5EF4-FFF2-40B4-BE49-F238E27FC236}">
                  <a16:creationId xmlns:a16="http://schemas.microsoft.com/office/drawing/2014/main" xmlns="" id="{3173BBA7-A142-4100-A9B4-4D213FC31570}"/>
                </a:ext>
              </a:extLst>
            </p:cNvPr>
            <p:cNvSpPr/>
            <p:nvPr/>
          </p:nvSpPr>
          <p:spPr>
            <a:xfrm>
              <a:off x="949437" y="1416465"/>
              <a:ext cx="485172" cy="474419"/>
            </a:xfrm>
            <a:custGeom>
              <a:avLst/>
              <a:gdLst>
                <a:gd name="connsiteX0" fmla="*/ 374047 w 781050"/>
                <a:gd name="connsiteY0" fmla="*/ 392716 h 781050"/>
                <a:gd name="connsiteX1" fmla="*/ 278130 w 781050"/>
                <a:gd name="connsiteY1" fmla="*/ 366617 h 781050"/>
                <a:gd name="connsiteX2" fmla="*/ 260604 w 781050"/>
                <a:gd name="connsiteY2" fmla="*/ 295561 h 781050"/>
                <a:gd name="connsiteX3" fmla="*/ 200597 w 781050"/>
                <a:gd name="connsiteY3" fmla="*/ 336709 h 781050"/>
                <a:gd name="connsiteX4" fmla="*/ 226028 w 781050"/>
                <a:gd name="connsiteY4" fmla="*/ 301847 h 781050"/>
                <a:gd name="connsiteX5" fmla="*/ 193643 w 781050"/>
                <a:gd name="connsiteY5" fmla="*/ 228600 h 781050"/>
                <a:gd name="connsiteX6" fmla="*/ 91726 w 781050"/>
                <a:gd name="connsiteY6" fmla="*/ 218313 h 781050"/>
                <a:gd name="connsiteX7" fmla="*/ 95155 w 781050"/>
                <a:gd name="connsiteY7" fmla="*/ 285369 h 781050"/>
                <a:gd name="connsiteX8" fmla="*/ 141637 w 781050"/>
                <a:gd name="connsiteY8" fmla="*/ 291275 h 781050"/>
                <a:gd name="connsiteX9" fmla="*/ 150019 w 781050"/>
                <a:gd name="connsiteY9" fmla="*/ 267367 h 781050"/>
                <a:gd name="connsiteX10" fmla="*/ 169831 w 781050"/>
                <a:gd name="connsiteY10" fmla="*/ 266033 h 781050"/>
                <a:gd name="connsiteX11" fmla="*/ 160020 w 781050"/>
                <a:gd name="connsiteY11" fmla="*/ 307181 h 781050"/>
                <a:gd name="connsiteX12" fmla="*/ 80010 w 781050"/>
                <a:gd name="connsiteY12" fmla="*/ 299752 h 781050"/>
                <a:gd name="connsiteX13" fmla="*/ 75438 w 781050"/>
                <a:gd name="connsiteY13" fmla="*/ 202787 h 781050"/>
                <a:gd name="connsiteX14" fmla="*/ 139351 w 781050"/>
                <a:gd name="connsiteY14" fmla="*/ 174974 h 781050"/>
                <a:gd name="connsiteX15" fmla="*/ 81820 w 781050"/>
                <a:gd name="connsiteY15" fmla="*/ 137732 h 781050"/>
                <a:gd name="connsiteX16" fmla="*/ 30671 w 781050"/>
                <a:gd name="connsiteY16" fmla="*/ 121253 h 781050"/>
                <a:gd name="connsiteX17" fmla="*/ 76867 w 781050"/>
                <a:gd name="connsiteY17" fmla="*/ 109823 h 781050"/>
                <a:gd name="connsiteX18" fmla="*/ 9620 w 781050"/>
                <a:gd name="connsiteY18" fmla="*/ 7144 h 781050"/>
                <a:gd name="connsiteX19" fmla="*/ 112014 w 781050"/>
                <a:gd name="connsiteY19" fmla="*/ 74200 h 781050"/>
                <a:gd name="connsiteX20" fmla="*/ 123444 w 781050"/>
                <a:gd name="connsiteY20" fmla="*/ 28004 h 781050"/>
                <a:gd name="connsiteX21" fmla="*/ 139922 w 781050"/>
                <a:gd name="connsiteY21" fmla="*/ 79248 h 781050"/>
                <a:gd name="connsiteX22" fmla="*/ 177165 w 781050"/>
                <a:gd name="connsiteY22" fmla="*/ 136779 h 781050"/>
                <a:gd name="connsiteX23" fmla="*/ 204978 w 781050"/>
                <a:gd name="connsiteY23" fmla="*/ 72866 h 781050"/>
                <a:gd name="connsiteX24" fmla="*/ 301943 w 781050"/>
                <a:gd name="connsiteY24" fmla="*/ 77438 h 781050"/>
                <a:gd name="connsiteX25" fmla="*/ 309372 w 781050"/>
                <a:gd name="connsiteY25" fmla="*/ 157353 h 781050"/>
                <a:gd name="connsiteX26" fmla="*/ 268224 w 781050"/>
                <a:gd name="connsiteY26" fmla="*/ 167164 h 781050"/>
                <a:gd name="connsiteX27" fmla="*/ 269558 w 781050"/>
                <a:gd name="connsiteY27" fmla="*/ 147352 h 781050"/>
                <a:gd name="connsiteX28" fmla="*/ 293465 w 781050"/>
                <a:gd name="connsiteY28" fmla="*/ 138970 h 781050"/>
                <a:gd name="connsiteX29" fmla="*/ 287560 w 781050"/>
                <a:gd name="connsiteY29" fmla="*/ 92488 h 781050"/>
                <a:gd name="connsiteX30" fmla="*/ 220504 w 781050"/>
                <a:gd name="connsiteY30" fmla="*/ 89059 h 781050"/>
                <a:gd name="connsiteX31" fmla="*/ 230791 w 781050"/>
                <a:gd name="connsiteY31" fmla="*/ 190976 h 781050"/>
                <a:gd name="connsiteX32" fmla="*/ 304038 w 781050"/>
                <a:gd name="connsiteY32" fmla="*/ 223266 h 781050"/>
                <a:gd name="connsiteX33" fmla="*/ 338900 w 781050"/>
                <a:gd name="connsiteY33" fmla="*/ 197930 h 781050"/>
                <a:gd name="connsiteX34" fmla="*/ 297752 w 781050"/>
                <a:gd name="connsiteY34" fmla="*/ 257937 h 781050"/>
                <a:gd name="connsiteX35" fmla="*/ 368808 w 781050"/>
                <a:gd name="connsiteY35" fmla="*/ 275463 h 781050"/>
                <a:gd name="connsiteX36" fmla="*/ 394907 w 781050"/>
                <a:gd name="connsiteY36" fmla="*/ 373856 h 781050"/>
                <a:gd name="connsiteX37" fmla="*/ 421005 w 781050"/>
                <a:gd name="connsiteY37" fmla="*/ 277940 h 781050"/>
                <a:gd name="connsiteX38" fmla="*/ 492062 w 781050"/>
                <a:gd name="connsiteY38" fmla="*/ 260414 h 781050"/>
                <a:gd name="connsiteX39" fmla="*/ 450914 w 781050"/>
                <a:gd name="connsiteY39" fmla="*/ 200406 h 781050"/>
                <a:gd name="connsiteX40" fmla="*/ 485775 w 781050"/>
                <a:gd name="connsiteY40" fmla="*/ 225838 h 781050"/>
                <a:gd name="connsiteX41" fmla="*/ 559022 w 781050"/>
                <a:gd name="connsiteY41" fmla="*/ 193548 h 781050"/>
                <a:gd name="connsiteX42" fmla="*/ 569309 w 781050"/>
                <a:gd name="connsiteY42" fmla="*/ 91631 h 781050"/>
                <a:gd name="connsiteX43" fmla="*/ 502253 w 781050"/>
                <a:gd name="connsiteY43" fmla="*/ 95059 h 781050"/>
                <a:gd name="connsiteX44" fmla="*/ 496348 w 781050"/>
                <a:gd name="connsiteY44" fmla="*/ 141542 h 781050"/>
                <a:gd name="connsiteX45" fmla="*/ 520256 w 781050"/>
                <a:gd name="connsiteY45" fmla="*/ 149924 h 781050"/>
                <a:gd name="connsiteX46" fmla="*/ 521589 w 781050"/>
                <a:gd name="connsiteY46" fmla="*/ 169736 h 781050"/>
                <a:gd name="connsiteX47" fmla="*/ 480441 w 781050"/>
                <a:gd name="connsiteY47" fmla="*/ 159925 h 781050"/>
                <a:gd name="connsiteX48" fmla="*/ 487871 w 781050"/>
                <a:gd name="connsiteY48" fmla="*/ 79915 h 781050"/>
                <a:gd name="connsiteX49" fmla="*/ 584835 w 781050"/>
                <a:gd name="connsiteY49" fmla="*/ 75343 h 781050"/>
                <a:gd name="connsiteX50" fmla="*/ 612648 w 781050"/>
                <a:gd name="connsiteY50" fmla="*/ 139160 h 781050"/>
                <a:gd name="connsiteX51" fmla="*/ 649891 w 781050"/>
                <a:gd name="connsiteY51" fmla="*/ 81629 h 781050"/>
                <a:gd name="connsiteX52" fmla="*/ 666369 w 781050"/>
                <a:gd name="connsiteY52" fmla="*/ 30385 h 781050"/>
                <a:gd name="connsiteX53" fmla="*/ 677799 w 781050"/>
                <a:gd name="connsiteY53" fmla="*/ 76581 h 781050"/>
                <a:gd name="connsiteX54" fmla="*/ 780193 w 781050"/>
                <a:gd name="connsiteY54" fmla="*/ 9525 h 781050"/>
                <a:gd name="connsiteX55" fmla="*/ 713137 w 781050"/>
                <a:gd name="connsiteY55" fmla="*/ 111919 h 781050"/>
                <a:gd name="connsiteX56" fmla="*/ 759333 w 781050"/>
                <a:gd name="connsiteY56" fmla="*/ 123349 h 781050"/>
                <a:gd name="connsiteX57" fmla="*/ 708184 w 781050"/>
                <a:gd name="connsiteY57" fmla="*/ 139827 h 781050"/>
                <a:gd name="connsiteX58" fmla="*/ 650653 w 781050"/>
                <a:gd name="connsiteY58" fmla="*/ 177070 h 781050"/>
                <a:gd name="connsiteX59" fmla="*/ 714565 w 781050"/>
                <a:gd name="connsiteY59" fmla="*/ 204883 h 781050"/>
                <a:gd name="connsiteX60" fmla="*/ 709994 w 781050"/>
                <a:gd name="connsiteY60" fmla="*/ 301847 h 781050"/>
                <a:gd name="connsiteX61" fmla="*/ 630079 w 781050"/>
                <a:gd name="connsiteY61" fmla="*/ 309277 h 781050"/>
                <a:gd name="connsiteX62" fmla="*/ 620268 w 781050"/>
                <a:gd name="connsiteY62" fmla="*/ 268129 h 781050"/>
                <a:gd name="connsiteX63" fmla="*/ 640080 w 781050"/>
                <a:gd name="connsiteY63" fmla="*/ 269462 h 781050"/>
                <a:gd name="connsiteX64" fmla="*/ 648462 w 781050"/>
                <a:gd name="connsiteY64" fmla="*/ 293370 h 781050"/>
                <a:gd name="connsiteX65" fmla="*/ 694944 w 781050"/>
                <a:gd name="connsiteY65" fmla="*/ 287465 h 781050"/>
                <a:gd name="connsiteX66" fmla="*/ 698373 w 781050"/>
                <a:gd name="connsiteY66" fmla="*/ 220409 h 781050"/>
                <a:gd name="connsiteX67" fmla="*/ 596456 w 781050"/>
                <a:gd name="connsiteY67" fmla="*/ 230696 h 781050"/>
                <a:gd name="connsiteX68" fmla="*/ 564166 w 781050"/>
                <a:gd name="connsiteY68" fmla="*/ 303943 h 781050"/>
                <a:gd name="connsiteX69" fmla="*/ 589598 w 781050"/>
                <a:gd name="connsiteY69" fmla="*/ 338804 h 781050"/>
                <a:gd name="connsiteX70" fmla="*/ 529590 w 781050"/>
                <a:gd name="connsiteY70" fmla="*/ 297656 h 781050"/>
                <a:gd name="connsiteX71" fmla="*/ 512064 w 781050"/>
                <a:gd name="connsiteY71" fmla="*/ 368713 h 781050"/>
                <a:gd name="connsiteX72" fmla="*/ 413671 w 781050"/>
                <a:gd name="connsiteY72" fmla="*/ 394811 h 781050"/>
                <a:gd name="connsiteX73" fmla="*/ 509588 w 781050"/>
                <a:gd name="connsiteY73" fmla="*/ 420910 h 781050"/>
                <a:gd name="connsiteX74" fmla="*/ 527114 w 781050"/>
                <a:gd name="connsiteY74" fmla="*/ 491966 h 781050"/>
                <a:gd name="connsiteX75" fmla="*/ 587216 w 781050"/>
                <a:gd name="connsiteY75" fmla="*/ 450818 h 781050"/>
                <a:gd name="connsiteX76" fmla="*/ 561785 w 781050"/>
                <a:gd name="connsiteY76" fmla="*/ 485680 h 781050"/>
                <a:gd name="connsiteX77" fmla="*/ 594170 w 781050"/>
                <a:gd name="connsiteY77" fmla="*/ 558927 h 781050"/>
                <a:gd name="connsiteX78" fmla="*/ 696087 w 781050"/>
                <a:gd name="connsiteY78" fmla="*/ 569214 h 781050"/>
                <a:gd name="connsiteX79" fmla="*/ 692658 w 781050"/>
                <a:gd name="connsiteY79" fmla="*/ 502158 h 781050"/>
                <a:gd name="connsiteX80" fmla="*/ 646176 w 781050"/>
                <a:gd name="connsiteY80" fmla="*/ 496253 h 781050"/>
                <a:gd name="connsiteX81" fmla="*/ 637794 w 781050"/>
                <a:gd name="connsiteY81" fmla="*/ 520160 h 781050"/>
                <a:gd name="connsiteX82" fmla="*/ 617982 w 781050"/>
                <a:gd name="connsiteY82" fmla="*/ 521494 h 781050"/>
                <a:gd name="connsiteX83" fmla="*/ 627793 w 781050"/>
                <a:gd name="connsiteY83" fmla="*/ 480346 h 781050"/>
                <a:gd name="connsiteX84" fmla="*/ 707803 w 781050"/>
                <a:gd name="connsiteY84" fmla="*/ 487680 h 781050"/>
                <a:gd name="connsiteX85" fmla="*/ 712375 w 781050"/>
                <a:gd name="connsiteY85" fmla="*/ 584645 h 781050"/>
                <a:gd name="connsiteX86" fmla="*/ 648462 w 781050"/>
                <a:gd name="connsiteY86" fmla="*/ 612458 h 781050"/>
                <a:gd name="connsiteX87" fmla="*/ 705993 w 781050"/>
                <a:gd name="connsiteY87" fmla="*/ 649700 h 781050"/>
                <a:gd name="connsiteX88" fmla="*/ 757142 w 781050"/>
                <a:gd name="connsiteY88" fmla="*/ 666179 h 781050"/>
                <a:gd name="connsiteX89" fmla="*/ 710946 w 781050"/>
                <a:gd name="connsiteY89" fmla="*/ 677704 h 781050"/>
                <a:gd name="connsiteX90" fmla="*/ 778002 w 781050"/>
                <a:gd name="connsiteY90" fmla="*/ 780098 h 781050"/>
                <a:gd name="connsiteX91" fmla="*/ 675608 w 781050"/>
                <a:gd name="connsiteY91" fmla="*/ 713042 h 781050"/>
                <a:gd name="connsiteX92" fmla="*/ 664178 w 781050"/>
                <a:gd name="connsiteY92" fmla="*/ 759238 h 781050"/>
                <a:gd name="connsiteX93" fmla="*/ 647700 w 781050"/>
                <a:gd name="connsiteY93" fmla="*/ 708088 h 781050"/>
                <a:gd name="connsiteX94" fmla="*/ 610457 w 781050"/>
                <a:gd name="connsiteY94" fmla="*/ 650558 h 781050"/>
                <a:gd name="connsiteX95" fmla="*/ 582644 w 781050"/>
                <a:gd name="connsiteY95" fmla="*/ 714470 h 781050"/>
                <a:gd name="connsiteX96" fmla="*/ 485680 w 781050"/>
                <a:gd name="connsiteY96" fmla="*/ 709898 h 781050"/>
                <a:gd name="connsiteX97" fmla="*/ 478346 w 781050"/>
                <a:gd name="connsiteY97" fmla="*/ 629984 h 781050"/>
                <a:gd name="connsiteX98" fmla="*/ 519494 w 781050"/>
                <a:gd name="connsiteY98" fmla="*/ 620078 h 781050"/>
                <a:gd name="connsiteX99" fmla="*/ 518160 w 781050"/>
                <a:gd name="connsiteY99" fmla="*/ 639890 h 781050"/>
                <a:gd name="connsiteX100" fmla="*/ 494252 w 781050"/>
                <a:gd name="connsiteY100" fmla="*/ 648272 h 781050"/>
                <a:gd name="connsiteX101" fmla="*/ 500158 w 781050"/>
                <a:gd name="connsiteY101" fmla="*/ 694754 h 781050"/>
                <a:gd name="connsiteX102" fmla="*/ 567214 w 781050"/>
                <a:gd name="connsiteY102" fmla="*/ 698183 h 781050"/>
                <a:gd name="connsiteX103" fmla="*/ 556927 w 781050"/>
                <a:gd name="connsiteY103" fmla="*/ 596265 h 781050"/>
                <a:gd name="connsiteX104" fmla="*/ 483680 w 781050"/>
                <a:gd name="connsiteY104" fmla="*/ 563975 h 781050"/>
                <a:gd name="connsiteX105" fmla="*/ 448818 w 781050"/>
                <a:gd name="connsiteY105" fmla="*/ 589407 h 781050"/>
                <a:gd name="connsiteX106" fmla="*/ 489966 w 781050"/>
                <a:gd name="connsiteY106" fmla="*/ 529400 h 781050"/>
                <a:gd name="connsiteX107" fmla="*/ 418910 w 781050"/>
                <a:gd name="connsiteY107" fmla="*/ 511874 h 781050"/>
                <a:gd name="connsiteX108" fmla="*/ 392811 w 781050"/>
                <a:gd name="connsiteY108" fmla="*/ 413480 h 781050"/>
                <a:gd name="connsiteX109" fmla="*/ 366713 w 781050"/>
                <a:gd name="connsiteY109" fmla="*/ 509397 h 781050"/>
                <a:gd name="connsiteX110" fmla="*/ 295656 w 781050"/>
                <a:gd name="connsiteY110" fmla="*/ 526923 h 781050"/>
                <a:gd name="connsiteX111" fmla="*/ 336804 w 781050"/>
                <a:gd name="connsiteY111" fmla="*/ 586931 h 781050"/>
                <a:gd name="connsiteX112" fmla="*/ 301943 w 781050"/>
                <a:gd name="connsiteY112" fmla="*/ 561499 h 781050"/>
                <a:gd name="connsiteX113" fmla="*/ 228695 w 781050"/>
                <a:gd name="connsiteY113" fmla="*/ 593789 h 781050"/>
                <a:gd name="connsiteX114" fmla="*/ 218408 w 781050"/>
                <a:gd name="connsiteY114" fmla="*/ 695706 h 781050"/>
                <a:gd name="connsiteX115" fmla="*/ 285464 w 781050"/>
                <a:gd name="connsiteY115" fmla="*/ 692277 h 781050"/>
                <a:gd name="connsiteX116" fmla="*/ 291370 w 781050"/>
                <a:gd name="connsiteY116" fmla="*/ 645795 h 781050"/>
                <a:gd name="connsiteX117" fmla="*/ 267462 w 781050"/>
                <a:gd name="connsiteY117" fmla="*/ 637413 h 781050"/>
                <a:gd name="connsiteX118" fmla="*/ 266129 w 781050"/>
                <a:gd name="connsiteY118" fmla="*/ 617601 h 781050"/>
                <a:gd name="connsiteX119" fmla="*/ 307277 w 781050"/>
                <a:gd name="connsiteY119" fmla="*/ 627412 h 781050"/>
                <a:gd name="connsiteX120" fmla="*/ 299847 w 781050"/>
                <a:gd name="connsiteY120" fmla="*/ 707327 h 781050"/>
                <a:gd name="connsiteX121" fmla="*/ 202883 w 781050"/>
                <a:gd name="connsiteY121" fmla="*/ 711899 h 781050"/>
                <a:gd name="connsiteX122" fmla="*/ 175069 w 781050"/>
                <a:gd name="connsiteY122" fmla="*/ 648081 h 781050"/>
                <a:gd name="connsiteX123" fmla="*/ 137827 w 781050"/>
                <a:gd name="connsiteY123" fmla="*/ 705612 h 781050"/>
                <a:gd name="connsiteX124" fmla="*/ 121349 w 781050"/>
                <a:gd name="connsiteY124" fmla="*/ 756857 h 781050"/>
                <a:gd name="connsiteX125" fmla="*/ 109919 w 781050"/>
                <a:gd name="connsiteY125" fmla="*/ 710660 h 781050"/>
                <a:gd name="connsiteX126" fmla="*/ 7144 w 781050"/>
                <a:gd name="connsiteY126" fmla="*/ 778193 h 781050"/>
                <a:gd name="connsiteX127" fmla="*/ 74200 w 781050"/>
                <a:gd name="connsiteY127" fmla="*/ 675799 h 781050"/>
                <a:gd name="connsiteX128" fmla="*/ 28004 w 781050"/>
                <a:gd name="connsiteY128" fmla="*/ 664369 h 781050"/>
                <a:gd name="connsiteX129" fmla="*/ 79248 w 781050"/>
                <a:gd name="connsiteY129" fmla="*/ 647890 h 781050"/>
                <a:gd name="connsiteX130" fmla="*/ 136779 w 781050"/>
                <a:gd name="connsiteY130" fmla="*/ 610648 h 781050"/>
                <a:gd name="connsiteX131" fmla="*/ 72962 w 781050"/>
                <a:gd name="connsiteY131" fmla="*/ 582835 h 781050"/>
                <a:gd name="connsiteX132" fmla="*/ 77534 w 781050"/>
                <a:gd name="connsiteY132" fmla="*/ 485870 h 781050"/>
                <a:gd name="connsiteX133" fmla="*/ 157544 w 781050"/>
                <a:gd name="connsiteY133" fmla="*/ 478441 h 781050"/>
                <a:gd name="connsiteX134" fmla="*/ 167354 w 781050"/>
                <a:gd name="connsiteY134" fmla="*/ 519589 h 781050"/>
                <a:gd name="connsiteX135" fmla="*/ 147542 w 781050"/>
                <a:gd name="connsiteY135" fmla="*/ 518255 h 781050"/>
                <a:gd name="connsiteX136" fmla="*/ 139160 w 781050"/>
                <a:gd name="connsiteY136" fmla="*/ 494348 h 781050"/>
                <a:gd name="connsiteX137" fmla="*/ 92678 w 781050"/>
                <a:gd name="connsiteY137" fmla="*/ 500253 h 781050"/>
                <a:gd name="connsiteX138" fmla="*/ 89249 w 781050"/>
                <a:gd name="connsiteY138" fmla="*/ 567309 h 781050"/>
                <a:gd name="connsiteX139" fmla="*/ 191167 w 781050"/>
                <a:gd name="connsiteY139" fmla="*/ 557022 h 781050"/>
                <a:gd name="connsiteX140" fmla="*/ 223456 w 781050"/>
                <a:gd name="connsiteY140" fmla="*/ 483775 h 781050"/>
                <a:gd name="connsiteX141" fmla="*/ 198025 w 781050"/>
                <a:gd name="connsiteY141" fmla="*/ 448913 h 781050"/>
                <a:gd name="connsiteX142" fmla="*/ 258128 w 781050"/>
                <a:gd name="connsiteY142" fmla="*/ 490061 h 781050"/>
                <a:gd name="connsiteX143" fmla="*/ 275654 w 781050"/>
                <a:gd name="connsiteY143" fmla="*/ 419005 h 781050"/>
                <a:gd name="connsiteX144" fmla="*/ 374047 w 781050"/>
                <a:gd name="connsiteY144" fmla="*/ 392716 h 78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781050" h="781050">
                  <a:moveTo>
                    <a:pt x="374047" y="392716"/>
                  </a:moveTo>
                  <a:cubicBezTo>
                    <a:pt x="324517" y="338900"/>
                    <a:pt x="313563" y="350901"/>
                    <a:pt x="278130" y="366617"/>
                  </a:cubicBezTo>
                  <a:cubicBezTo>
                    <a:pt x="292799" y="333947"/>
                    <a:pt x="288703" y="322802"/>
                    <a:pt x="260604" y="295561"/>
                  </a:cubicBezTo>
                  <a:cubicBezTo>
                    <a:pt x="258318" y="328898"/>
                    <a:pt x="233934" y="346615"/>
                    <a:pt x="200597" y="336709"/>
                  </a:cubicBezTo>
                  <a:cubicBezTo>
                    <a:pt x="215741" y="327850"/>
                    <a:pt x="223838" y="315563"/>
                    <a:pt x="226028" y="301847"/>
                  </a:cubicBezTo>
                  <a:cubicBezTo>
                    <a:pt x="229743" y="278702"/>
                    <a:pt x="216884" y="251269"/>
                    <a:pt x="193643" y="228600"/>
                  </a:cubicBezTo>
                  <a:cubicBezTo>
                    <a:pt x="159734" y="195453"/>
                    <a:pt x="115253" y="193548"/>
                    <a:pt x="91726" y="218313"/>
                  </a:cubicBezTo>
                  <a:cubicBezTo>
                    <a:pt x="70485" y="240697"/>
                    <a:pt x="75248" y="264795"/>
                    <a:pt x="95155" y="285369"/>
                  </a:cubicBezTo>
                  <a:cubicBezTo>
                    <a:pt x="110966" y="301752"/>
                    <a:pt x="131921" y="300038"/>
                    <a:pt x="141637" y="291275"/>
                  </a:cubicBezTo>
                  <a:cubicBezTo>
                    <a:pt x="146114" y="287179"/>
                    <a:pt x="154210" y="279654"/>
                    <a:pt x="150019" y="267367"/>
                  </a:cubicBezTo>
                  <a:cubicBezTo>
                    <a:pt x="142875" y="246412"/>
                    <a:pt x="161258" y="247745"/>
                    <a:pt x="169831" y="266033"/>
                  </a:cubicBezTo>
                  <a:cubicBezTo>
                    <a:pt x="177260" y="281940"/>
                    <a:pt x="169450" y="298704"/>
                    <a:pt x="160020" y="307181"/>
                  </a:cubicBezTo>
                  <a:cubicBezTo>
                    <a:pt x="141542" y="323469"/>
                    <a:pt x="108966" y="328994"/>
                    <a:pt x="80010" y="299752"/>
                  </a:cubicBezTo>
                  <a:cubicBezTo>
                    <a:pt x="54578" y="274034"/>
                    <a:pt x="43815" y="236982"/>
                    <a:pt x="75438" y="202787"/>
                  </a:cubicBezTo>
                  <a:cubicBezTo>
                    <a:pt x="94298" y="182404"/>
                    <a:pt x="114872" y="173546"/>
                    <a:pt x="139351" y="174974"/>
                  </a:cubicBezTo>
                  <a:cubicBezTo>
                    <a:pt x="117158" y="152305"/>
                    <a:pt x="105442" y="136874"/>
                    <a:pt x="81820" y="137732"/>
                  </a:cubicBezTo>
                  <a:cubicBezTo>
                    <a:pt x="57912" y="138589"/>
                    <a:pt x="46006" y="139637"/>
                    <a:pt x="30671" y="121253"/>
                  </a:cubicBezTo>
                  <a:cubicBezTo>
                    <a:pt x="42101" y="108299"/>
                    <a:pt x="60484" y="107918"/>
                    <a:pt x="76867" y="109823"/>
                  </a:cubicBezTo>
                  <a:cubicBezTo>
                    <a:pt x="38767" y="90869"/>
                    <a:pt x="9906" y="49911"/>
                    <a:pt x="9620" y="7144"/>
                  </a:cubicBezTo>
                  <a:cubicBezTo>
                    <a:pt x="52388" y="7430"/>
                    <a:pt x="93345" y="36290"/>
                    <a:pt x="112014" y="74200"/>
                  </a:cubicBezTo>
                  <a:cubicBezTo>
                    <a:pt x="110109" y="57817"/>
                    <a:pt x="110490" y="39338"/>
                    <a:pt x="123444" y="28004"/>
                  </a:cubicBezTo>
                  <a:cubicBezTo>
                    <a:pt x="141827" y="43434"/>
                    <a:pt x="140780" y="55340"/>
                    <a:pt x="139922" y="79248"/>
                  </a:cubicBezTo>
                  <a:cubicBezTo>
                    <a:pt x="139065" y="102870"/>
                    <a:pt x="154496" y="114586"/>
                    <a:pt x="177165" y="136779"/>
                  </a:cubicBezTo>
                  <a:cubicBezTo>
                    <a:pt x="175736" y="112300"/>
                    <a:pt x="184499" y="91726"/>
                    <a:pt x="204978" y="72866"/>
                  </a:cubicBezTo>
                  <a:cubicBezTo>
                    <a:pt x="239173" y="41339"/>
                    <a:pt x="276225" y="52007"/>
                    <a:pt x="301943" y="77438"/>
                  </a:cubicBezTo>
                  <a:cubicBezTo>
                    <a:pt x="331089" y="106394"/>
                    <a:pt x="325660" y="138970"/>
                    <a:pt x="309372" y="157353"/>
                  </a:cubicBezTo>
                  <a:cubicBezTo>
                    <a:pt x="300990" y="166878"/>
                    <a:pt x="284131" y="174689"/>
                    <a:pt x="268224" y="167164"/>
                  </a:cubicBezTo>
                  <a:cubicBezTo>
                    <a:pt x="249841" y="158591"/>
                    <a:pt x="248507" y="140208"/>
                    <a:pt x="269558" y="147352"/>
                  </a:cubicBezTo>
                  <a:cubicBezTo>
                    <a:pt x="281845" y="151543"/>
                    <a:pt x="289370" y="143447"/>
                    <a:pt x="293465" y="138970"/>
                  </a:cubicBezTo>
                  <a:cubicBezTo>
                    <a:pt x="302228" y="129350"/>
                    <a:pt x="303943" y="108395"/>
                    <a:pt x="287560" y="92488"/>
                  </a:cubicBezTo>
                  <a:cubicBezTo>
                    <a:pt x="267081" y="72581"/>
                    <a:pt x="242983" y="67818"/>
                    <a:pt x="220504" y="89059"/>
                  </a:cubicBezTo>
                  <a:cubicBezTo>
                    <a:pt x="195739" y="112586"/>
                    <a:pt x="197644" y="157067"/>
                    <a:pt x="230791" y="190976"/>
                  </a:cubicBezTo>
                  <a:cubicBezTo>
                    <a:pt x="253460" y="214122"/>
                    <a:pt x="280892" y="226981"/>
                    <a:pt x="304038" y="223266"/>
                  </a:cubicBezTo>
                  <a:cubicBezTo>
                    <a:pt x="317754" y="221075"/>
                    <a:pt x="330041" y="213074"/>
                    <a:pt x="338900" y="197930"/>
                  </a:cubicBezTo>
                  <a:cubicBezTo>
                    <a:pt x="348901" y="231267"/>
                    <a:pt x="331089" y="255651"/>
                    <a:pt x="297752" y="257937"/>
                  </a:cubicBezTo>
                  <a:cubicBezTo>
                    <a:pt x="324993" y="286036"/>
                    <a:pt x="336137" y="290132"/>
                    <a:pt x="368808" y="275463"/>
                  </a:cubicBezTo>
                  <a:cubicBezTo>
                    <a:pt x="353092" y="310991"/>
                    <a:pt x="341090" y="321850"/>
                    <a:pt x="394907" y="373856"/>
                  </a:cubicBezTo>
                  <a:cubicBezTo>
                    <a:pt x="448723" y="324326"/>
                    <a:pt x="436721" y="313468"/>
                    <a:pt x="421005" y="277940"/>
                  </a:cubicBezTo>
                  <a:cubicBezTo>
                    <a:pt x="453676" y="292608"/>
                    <a:pt x="464820" y="288512"/>
                    <a:pt x="492062" y="260414"/>
                  </a:cubicBezTo>
                  <a:cubicBezTo>
                    <a:pt x="458819" y="258128"/>
                    <a:pt x="441008" y="233744"/>
                    <a:pt x="450914" y="200406"/>
                  </a:cubicBezTo>
                  <a:cubicBezTo>
                    <a:pt x="459772" y="215551"/>
                    <a:pt x="472059" y="223552"/>
                    <a:pt x="485775" y="225838"/>
                  </a:cubicBezTo>
                  <a:cubicBezTo>
                    <a:pt x="508921" y="229553"/>
                    <a:pt x="536353" y="216694"/>
                    <a:pt x="559022" y="193548"/>
                  </a:cubicBezTo>
                  <a:cubicBezTo>
                    <a:pt x="592169" y="159639"/>
                    <a:pt x="594074" y="115157"/>
                    <a:pt x="569309" y="91631"/>
                  </a:cubicBezTo>
                  <a:cubicBezTo>
                    <a:pt x="546926" y="70390"/>
                    <a:pt x="522827" y="75152"/>
                    <a:pt x="502253" y="95059"/>
                  </a:cubicBezTo>
                  <a:cubicBezTo>
                    <a:pt x="485870" y="110966"/>
                    <a:pt x="487585" y="131826"/>
                    <a:pt x="496348" y="141542"/>
                  </a:cubicBezTo>
                  <a:cubicBezTo>
                    <a:pt x="500444" y="146018"/>
                    <a:pt x="507968" y="154115"/>
                    <a:pt x="520256" y="149924"/>
                  </a:cubicBezTo>
                  <a:cubicBezTo>
                    <a:pt x="541211" y="142780"/>
                    <a:pt x="539877" y="161163"/>
                    <a:pt x="521589" y="169736"/>
                  </a:cubicBezTo>
                  <a:cubicBezTo>
                    <a:pt x="505682" y="177165"/>
                    <a:pt x="488918" y="169355"/>
                    <a:pt x="480441" y="159925"/>
                  </a:cubicBezTo>
                  <a:cubicBezTo>
                    <a:pt x="464153" y="141446"/>
                    <a:pt x="458629" y="108871"/>
                    <a:pt x="487871" y="79915"/>
                  </a:cubicBezTo>
                  <a:cubicBezTo>
                    <a:pt x="513588" y="54483"/>
                    <a:pt x="550640" y="43720"/>
                    <a:pt x="584835" y="75343"/>
                  </a:cubicBezTo>
                  <a:cubicBezTo>
                    <a:pt x="605219" y="94202"/>
                    <a:pt x="614077" y="114776"/>
                    <a:pt x="612648" y="139160"/>
                  </a:cubicBezTo>
                  <a:cubicBezTo>
                    <a:pt x="635413" y="116967"/>
                    <a:pt x="650748" y="105251"/>
                    <a:pt x="649891" y="81629"/>
                  </a:cubicBezTo>
                  <a:cubicBezTo>
                    <a:pt x="649034" y="57722"/>
                    <a:pt x="647986" y="45815"/>
                    <a:pt x="666369" y="30385"/>
                  </a:cubicBezTo>
                  <a:cubicBezTo>
                    <a:pt x="679323" y="41815"/>
                    <a:pt x="679704" y="60198"/>
                    <a:pt x="677799" y="76581"/>
                  </a:cubicBezTo>
                  <a:cubicBezTo>
                    <a:pt x="696468" y="38672"/>
                    <a:pt x="737426" y="9811"/>
                    <a:pt x="780193" y="9525"/>
                  </a:cubicBezTo>
                  <a:cubicBezTo>
                    <a:pt x="779907" y="52292"/>
                    <a:pt x="751046" y="93250"/>
                    <a:pt x="713137" y="111919"/>
                  </a:cubicBezTo>
                  <a:cubicBezTo>
                    <a:pt x="729520" y="110014"/>
                    <a:pt x="747903" y="110395"/>
                    <a:pt x="759333" y="123349"/>
                  </a:cubicBezTo>
                  <a:cubicBezTo>
                    <a:pt x="743903" y="141732"/>
                    <a:pt x="731996" y="140684"/>
                    <a:pt x="708184" y="139827"/>
                  </a:cubicBezTo>
                  <a:cubicBezTo>
                    <a:pt x="684562" y="138970"/>
                    <a:pt x="672846" y="154400"/>
                    <a:pt x="650653" y="177070"/>
                  </a:cubicBezTo>
                  <a:cubicBezTo>
                    <a:pt x="675132" y="175546"/>
                    <a:pt x="695706" y="184404"/>
                    <a:pt x="714565" y="204883"/>
                  </a:cubicBezTo>
                  <a:cubicBezTo>
                    <a:pt x="746093" y="239078"/>
                    <a:pt x="735425" y="276130"/>
                    <a:pt x="709994" y="301847"/>
                  </a:cubicBezTo>
                  <a:cubicBezTo>
                    <a:pt x="681038" y="330994"/>
                    <a:pt x="648462" y="325565"/>
                    <a:pt x="630079" y="309277"/>
                  </a:cubicBezTo>
                  <a:cubicBezTo>
                    <a:pt x="620554" y="300895"/>
                    <a:pt x="612743" y="284036"/>
                    <a:pt x="620268" y="268129"/>
                  </a:cubicBezTo>
                  <a:cubicBezTo>
                    <a:pt x="628840" y="249746"/>
                    <a:pt x="647224" y="248412"/>
                    <a:pt x="640080" y="269462"/>
                  </a:cubicBezTo>
                  <a:cubicBezTo>
                    <a:pt x="635889" y="281750"/>
                    <a:pt x="643985" y="289274"/>
                    <a:pt x="648462" y="293370"/>
                  </a:cubicBezTo>
                  <a:cubicBezTo>
                    <a:pt x="658082" y="302133"/>
                    <a:pt x="679037" y="303848"/>
                    <a:pt x="694944" y="287465"/>
                  </a:cubicBezTo>
                  <a:cubicBezTo>
                    <a:pt x="714851" y="266986"/>
                    <a:pt x="719614" y="242888"/>
                    <a:pt x="698373" y="220409"/>
                  </a:cubicBezTo>
                  <a:cubicBezTo>
                    <a:pt x="674846" y="195644"/>
                    <a:pt x="630365" y="197549"/>
                    <a:pt x="596456" y="230696"/>
                  </a:cubicBezTo>
                  <a:cubicBezTo>
                    <a:pt x="573310" y="253365"/>
                    <a:pt x="560451" y="280797"/>
                    <a:pt x="564166" y="303943"/>
                  </a:cubicBezTo>
                  <a:cubicBezTo>
                    <a:pt x="566357" y="317659"/>
                    <a:pt x="574358" y="329946"/>
                    <a:pt x="589598" y="338804"/>
                  </a:cubicBezTo>
                  <a:cubicBezTo>
                    <a:pt x="556260" y="348806"/>
                    <a:pt x="531876" y="330994"/>
                    <a:pt x="529590" y="297656"/>
                  </a:cubicBezTo>
                  <a:cubicBezTo>
                    <a:pt x="501491" y="324898"/>
                    <a:pt x="497396" y="336042"/>
                    <a:pt x="512064" y="368713"/>
                  </a:cubicBezTo>
                  <a:cubicBezTo>
                    <a:pt x="476536" y="352997"/>
                    <a:pt x="465677" y="340995"/>
                    <a:pt x="413671" y="394811"/>
                  </a:cubicBezTo>
                  <a:cubicBezTo>
                    <a:pt x="463201" y="448628"/>
                    <a:pt x="474155" y="436626"/>
                    <a:pt x="509588" y="420910"/>
                  </a:cubicBezTo>
                  <a:cubicBezTo>
                    <a:pt x="494919" y="453581"/>
                    <a:pt x="499015" y="464725"/>
                    <a:pt x="527114" y="491966"/>
                  </a:cubicBezTo>
                  <a:cubicBezTo>
                    <a:pt x="529400" y="458724"/>
                    <a:pt x="553784" y="440912"/>
                    <a:pt x="587216" y="450818"/>
                  </a:cubicBezTo>
                  <a:cubicBezTo>
                    <a:pt x="572072" y="459676"/>
                    <a:pt x="563975" y="471964"/>
                    <a:pt x="561785" y="485680"/>
                  </a:cubicBezTo>
                  <a:cubicBezTo>
                    <a:pt x="558070" y="508825"/>
                    <a:pt x="570929" y="536258"/>
                    <a:pt x="594170" y="558927"/>
                  </a:cubicBezTo>
                  <a:cubicBezTo>
                    <a:pt x="628079" y="592074"/>
                    <a:pt x="672560" y="593979"/>
                    <a:pt x="696087" y="569214"/>
                  </a:cubicBezTo>
                  <a:cubicBezTo>
                    <a:pt x="717328" y="546830"/>
                    <a:pt x="712565" y="522732"/>
                    <a:pt x="692658" y="502158"/>
                  </a:cubicBezTo>
                  <a:cubicBezTo>
                    <a:pt x="676751" y="485775"/>
                    <a:pt x="655892" y="487490"/>
                    <a:pt x="646176" y="496253"/>
                  </a:cubicBezTo>
                  <a:cubicBezTo>
                    <a:pt x="641699" y="500348"/>
                    <a:pt x="633603" y="507873"/>
                    <a:pt x="637794" y="520160"/>
                  </a:cubicBezTo>
                  <a:cubicBezTo>
                    <a:pt x="644938" y="541115"/>
                    <a:pt x="626555" y="539782"/>
                    <a:pt x="617982" y="521494"/>
                  </a:cubicBezTo>
                  <a:cubicBezTo>
                    <a:pt x="610553" y="505587"/>
                    <a:pt x="618363" y="488823"/>
                    <a:pt x="627793" y="480346"/>
                  </a:cubicBezTo>
                  <a:cubicBezTo>
                    <a:pt x="646271" y="464058"/>
                    <a:pt x="678847" y="458534"/>
                    <a:pt x="707803" y="487680"/>
                  </a:cubicBezTo>
                  <a:cubicBezTo>
                    <a:pt x="733235" y="513398"/>
                    <a:pt x="743998" y="550450"/>
                    <a:pt x="712375" y="584645"/>
                  </a:cubicBezTo>
                  <a:cubicBezTo>
                    <a:pt x="693515" y="605028"/>
                    <a:pt x="672941" y="613886"/>
                    <a:pt x="648462" y="612458"/>
                  </a:cubicBezTo>
                  <a:cubicBezTo>
                    <a:pt x="670655" y="635127"/>
                    <a:pt x="682371" y="650558"/>
                    <a:pt x="705993" y="649700"/>
                  </a:cubicBezTo>
                  <a:cubicBezTo>
                    <a:pt x="729901" y="648843"/>
                    <a:pt x="741807" y="647795"/>
                    <a:pt x="757142" y="666179"/>
                  </a:cubicBezTo>
                  <a:cubicBezTo>
                    <a:pt x="745712" y="679133"/>
                    <a:pt x="727329" y="679513"/>
                    <a:pt x="710946" y="677704"/>
                  </a:cubicBezTo>
                  <a:cubicBezTo>
                    <a:pt x="748856" y="696373"/>
                    <a:pt x="777716" y="737330"/>
                    <a:pt x="778002" y="780098"/>
                  </a:cubicBezTo>
                  <a:cubicBezTo>
                    <a:pt x="735235" y="779812"/>
                    <a:pt x="694277" y="750951"/>
                    <a:pt x="675608" y="713042"/>
                  </a:cubicBezTo>
                  <a:cubicBezTo>
                    <a:pt x="677513" y="729425"/>
                    <a:pt x="677132" y="747903"/>
                    <a:pt x="664178" y="759238"/>
                  </a:cubicBezTo>
                  <a:cubicBezTo>
                    <a:pt x="645795" y="743807"/>
                    <a:pt x="646843" y="731901"/>
                    <a:pt x="647700" y="708088"/>
                  </a:cubicBezTo>
                  <a:cubicBezTo>
                    <a:pt x="648557" y="684467"/>
                    <a:pt x="633127" y="672751"/>
                    <a:pt x="610457" y="650558"/>
                  </a:cubicBezTo>
                  <a:cubicBezTo>
                    <a:pt x="611886" y="675037"/>
                    <a:pt x="603123" y="695611"/>
                    <a:pt x="582644" y="714470"/>
                  </a:cubicBezTo>
                  <a:cubicBezTo>
                    <a:pt x="548450" y="745998"/>
                    <a:pt x="511397" y="735330"/>
                    <a:pt x="485680" y="709898"/>
                  </a:cubicBezTo>
                  <a:cubicBezTo>
                    <a:pt x="456533" y="680942"/>
                    <a:pt x="461963" y="648367"/>
                    <a:pt x="478346" y="629984"/>
                  </a:cubicBezTo>
                  <a:cubicBezTo>
                    <a:pt x="486728" y="620459"/>
                    <a:pt x="503587" y="612648"/>
                    <a:pt x="519494" y="620078"/>
                  </a:cubicBezTo>
                  <a:cubicBezTo>
                    <a:pt x="537877" y="628745"/>
                    <a:pt x="539210" y="647033"/>
                    <a:pt x="518160" y="639890"/>
                  </a:cubicBezTo>
                  <a:cubicBezTo>
                    <a:pt x="505873" y="635699"/>
                    <a:pt x="498348" y="643795"/>
                    <a:pt x="494252" y="648272"/>
                  </a:cubicBezTo>
                  <a:cubicBezTo>
                    <a:pt x="485489" y="657892"/>
                    <a:pt x="483775" y="678847"/>
                    <a:pt x="500158" y="694754"/>
                  </a:cubicBezTo>
                  <a:cubicBezTo>
                    <a:pt x="520637" y="714661"/>
                    <a:pt x="544735" y="719423"/>
                    <a:pt x="567214" y="698183"/>
                  </a:cubicBezTo>
                  <a:cubicBezTo>
                    <a:pt x="591979" y="674656"/>
                    <a:pt x="590074" y="630174"/>
                    <a:pt x="556927" y="596265"/>
                  </a:cubicBezTo>
                  <a:cubicBezTo>
                    <a:pt x="534257" y="573119"/>
                    <a:pt x="506825" y="560261"/>
                    <a:pt x="483680" y="563975"/>
                  </a:cubicBezTo>
                  <a:cubicBezTo>
                    <a:pt x="469964" y="566166"/>
                    <a:pt x="457676" y="574167"/>
                    <a:pt x="448818" y="589407"/>
                  </a:cubicBezTo>
                  <a:cubicBezTo>
                    <a:pt x="438817" y="556070"/>
                    <a:pt x="456629" y="531686"/>
                    <a:pt x="489966" y="529400"/>
                  </a:cubicBezTo>
                  <a:cubicBezTo>
                    <a:pt x="462725" y="501301"/>
                    <a:pt x="451580" y="497205"/>
                    <a:pt x="418910" y="511874"/>
                  </a:cubicBezTo>
                  <a:cubicBezTo>
                    <a:pt x="434626" y="476345"/>
                    <a:pt x="446627" y="465487"/>
                    <a:pt x="392811" y="413480"/>
                  </a:cubicBezTo>
                  <a:cubicBezTo>
                    <a:pt x="338995" y="463010"/>
                    <a:pt x="350996" y="473964"/>
                    <a:pt x="366713" y="509397"/>
                  </a:cubicBezTo>
                  <a:cubicBezTo>
                    <a:pt x="334042" y="494729"/>
                    <a:pt x="322898" y="498824"/>
                    <a:pt x="295656" y="526923"/>
                  </a:cubicBezTo>
                  <a:cubicBezTo>
                    <a:pt x="328898" y="529209"/>
                    <a:pt x="346710" y="553593"/>
                    <a:pt x="336804" y="586931"/>
                  </a:cubicBezTo>
                  <a:cubicBezTo>
                    <a:pt x="327946" y="571786"/>
                    <a:pt x="315659" y="563690"/>
                    <a:pt x="301943" y="561499"/>
                  </a:cubicBezTo>
                  <a:cubicBezTo>
                    <a:pt x="278797" y="557784"/>
                    <a:pt x="251365" y="570643"/>
                    <a:pt x="228695" y="593789"/>
                  </a:cubicBezTo>
                  <a:cubicBezTo>
                    <a:pt x="195548" y="627698"/>
                    <a:pt x="193643" y="672179"/>
                    <a:pt x="218408" y="695706"/>
                  </a:cubicBezTo>
                  <a:cubicBezTo>
                    <a:pt x="240792" y="716947"/>
                    <a:pt x="264890" y="712184"/>
                    <a:pt x="285464" y="692277"/>
                  </a:cubicBezTo>
                  <a:cubicBezTo>
                    <a:pt x="301847" y="676370"/>
                    <a:pt x="300133" y="655415"/>
                    <a:pt x="291370" y="645795"/>
                  </a:cubicBezTo>
                  <a:cubicBezTo>
                    <a:pt x="287274" y="641318"/>
                    <a:pt x="279749" y="633222"/>
                    <a:pt x="267462" y="637413"/>
                  </a:cubicBezTo>
                  <a:cubicBezTo>
                    <a:pt x="246507" y="644557"/>
                    <a:pt x="247841" y="626174"/>
                    <a:pt x="266129" y="617601"/>
                  </a:cubicBezTo>
                  <a:cubicBezTo>
                    <a:pt x="282035" y="610172"/>
                    <a:pt x="298799" y="617982"/>
                    <a:pt x="307277" y="627412"/>
                  </a:cubicBezTo>
                  <a:cubicBezTo>
                    <a:pt x="323564" y="645890"/>
                    <a:pt x="329089" y="678466"/>
                    <a:pt x="299847" y="707327"/>
                  </a:cubicBezTo>
                  <a:cubicBezTo>
                    <a:pt x="274130" y="732758"/>
                    <a:pt x="237077" y="743522"/>
                    <a:pt x="202883" y="711899"/>
                  </a:cubicBezTo>
                  <a:cubicBezTo>
                    <a:pt x="182499" y="693039"/>
                    <a:pt x="173641" y="672465"/>
                    <a:pt x="175069" y="648081"/>
                  </a:cubicBezTo>
                  <a:cubicBezTo>
                    <a:pt x="152400" y="670274"/>
                    <a:pt x="136970" y="681990"/>
                    <a:pt x="137827" y="705612"/>
                  </a:cubicBezTo>
                  <a:cubicBezTo>
                    <a:pt x="138684" y="729520"/>
                    <a:pt x="139732" y="741426"/>
                    <a:pt x="121349" y="756857"/>
                  </a:cubicBezTo>
                  <a:cubicBezTo>
                    <a:pt x="108395" y="745427"/>
                    <a:pt x="108014" y="727043"/>
                    <a:pt x="109919" y="710660"/>
                  </a:cubicBezTo>
                  <a:cubicBezTo>
                    <a:pt x="90869" y="749046"/>
                    <a:pt x="49911" y="777907"/>
                    <a:pt x="7144" y="778193"/>
                  </a:cubicBezTo>
                  <a:cubicBezTo>
                    <a:pt x="7430" y="735425"/>
                    <a:pt x="36290" y="694468"/>
                    <a:pt x="74200" y="675799"/>
                  </a:cubicBezTo>
                  <a:cubicBezTo>
                    <a:pt x="57817" y="677704"/>
                    <a:pt x="39338" y="677323"/>
                    <a:pt x="28004" y="664369"/>
                  </a:cubicBezTo>
                  <a:cubicBezTo>
                    <a:pt x="43434" y="645986"/>
                    <a:pt x="55340" y="647033"/>
                    <a:pt x="79248" y="647890"/>
                  </a:cubicBezTo>
                  <a:cubicBezTo>
                    <a:pt x="102870" y="648748"/>
                    <a:pt x="114586" y="633317"/>
                    <a:pt x="136779" y="610648"/>
                  </a:cubicBezTo>
                  <a:cubicBezTo>
                    <a:pt x="112300" y="612077"/>
                    <a:pt x="91726" y="603314"/>
                    <a:pt x="72962" y="582835"/>
                  </a:cubicBezTo>
                  <a:cubicBezTo>
                    <a:pt x="41434" y="548640"/>
                    <a:pt x="52102" y="511588"/>
                    <a:pt x="77534" y="485870"/>
                  </a:cubicBezTo>
                  <a:cubicBezTo>
                    <a:pt x="106490" y="456724"/>
                    <a:pt x="139065" y="462153"/>
                    <a:pt x="157544" y="478441"/>
                  </a:cubicBezTo>
                  <a:cubicBezTo>
                    <a:pt x="167069" y="486823"/>
                    <a:pt x="174879" y="503682"/>
                    <a:pt x="167354" y="519589"/>
                  </a:cubicBezTo>
                  <a:cubicBezTo>
                    <a:pt x="158782" y="537972"/>
                    <a:pt x="140399" y="539306"/>
                    <a:pt x="147542" y="518255"/>
                  </a:cubicBezTo>
                  <a:cubicBezTo>
                    <a:pt x="151733" y="505968"/>
                    <a:pt x="143637" y="498443"/>
                    <a:pt x="139160" y="494348"/>
                  </a:cubicBezTo>
                  <a:cubicBezTo>
                    <a:pt x="129540" y="485585"/>
                    <a:pt x="108585" y="483870"/>
                    <a:pt x="92678" y="500253"/>
                  </a:cubicBezTo>
                  <a:cubicBezTo>
                    <a:pt x="72771" y="520827"/>
                    <a:pt x="68009" y="544830"/>
                    <a:pt x="89249" y="567309"/>
                  </a:cubicBezTo>
                  <a:cubicBezTo>
                    <a:pt x="112776" y="592074"/>
                    <a:pt x="157258" y="590169"/>
                    <a:pt x="191167" y="557022"/>
                  </a:cubicBezTo>
                  <a:cubicBezTo>
                    <a:pt x="214313" y="534353"/>
                    <a:pt x="227171" y="506921"/>
                    <a:pt x="223456" y="483775"/>
                  </a:cubicBezTo>
                  <a:cubicBezTo>
                    <a:pt x="221266" y="470059"/>
                    <a:pt x="213265" y="457772"/>
                    <a:pt x="198025" y="448913"/>
                  </a:cubicBezTo>
                  <a:cubicBezTo>
                    <a:pt x="231362" y="438912"/>
                    <a:pt x="255746" y="456724"/>
                    <a:pt x="258128" y="490061"/>
                  </a:cubicBezTo>
                  <a:cubicBezTo>
                    <a:pt x="286226" y="462820"/>
                    <a:pt x="290322" y="451675"/>
                    <a:pt x="275654" y="419005"/>
                  </a:cubicBezTo>
                  <a:cubicBezTo>
                    <a:pt x="311182" y="434531"/>
                    <a:pt x="322040" y="446532"/>
                    <a:pt x="374047" y="392716"/>
                  </a:cubicBezTo>
                  <a:close/>
                </a:path>
              </a:pathLst>
            </a:custGeom>
            <a:solidFill>
              <a:srgbClr val="0065BD"/>
            </a:solidFill>
            <a:ln w="12700" cap="rnd">
              <a:noFill/>
              <a:prstDash val="solid"/>
              <a:round/>
            </a:ln>
            <a:effectLst>
              <a:outerShdw blurRad="139700" sx="102000" sy="102000" algn="ctr" rotWithShape="0">
                <a:prstClr val="black">
                  <a:alpha val="23000"/>
                </a:prstClr>
              </a:outerShdw>
            </a:effectLst>
          </p:spPr>
          <p:txBody>
            <a:bodyPr anchor="ctr"/>
            <a:lstStyle/>
            <a:p>
              <a:pPr eaLnBrk="0" hangingPunct="0">
                <a:defRPr/>
              </a:pPr>
              <a:endParaRPr lang="ru-RU" dirty="0">
                <a:cs typeface="+mn-cs"/>
              </a:endParaRPr>
            </a:p>
          </p:txBody>
        </p:sp>
      </p:grpSp>
      <p:sp>
        <p:nvSpPr>
          <p:cNvPr id="21" name="TextBox 4">
            <a:extLst>
              <a:ext uri="{FF2B5EF4-FFF2-40B4-BE49-F238E27FC236}">
                <a16:creationId xmlns:a16="http://schemas.microsoft.com/office/drawing/2014/main" xmlns="" id="{925D908F-090E-45C4-864C-B73388E25EB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35100" y="315907"/>
            <a:ext cx="7587517" cy="646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7" tIns="45694" rIns="91387" bIns="45694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</a:rPr>
              <a:t>Министерство национальной экономики </a:t>
            </a:r>
          </a:p>
          <a:p>
            <a:pPr algn="ctr" eaLnBrk="1" hangingPunct="1"/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</a:rPr>
              <a:t>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4010220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9537" y="62765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Компетенции, передаваемые МИО 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в 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рамках основного законопроекта</a:t>
            </a:r>
            <a:endParaRPr lang="ru-RU" alt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14" name="Прямоугольник 15"/>
          <p:cNvSpPr/>
          <p:nvPr/>
        </p:nvSpPr>
        <p:spPr>
          <a:xfrm>
            <a:off x="432645" y="1272368"/>
            <a:ext cx="8697069" cy="33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оординируе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еятельность субъектов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по реализации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генерального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лана развития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и застройки столицы и городов республиканского значения,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омплексной схемы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градостроительного планирования прилегающих территорий 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(проекта районной планировки)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отнесенных к пригородной зоне столицы и городов республиканского значения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рганизуе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разработку проекта генерального плана развития и застройки территории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столицы, городов республиканского значения и их пригородных зон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гласовывае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оекты государственных нормативов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в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области архитектурной, градостроительной и строительной деятельности, применяемых на территории столицы, городов республиканского значения и их пригородных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зон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kk-KZ" sz="135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МИО области, населенные </a:t>
            </a:r>
            <a:r>
              <a:rPr lang="ru-RU" altLang="ru-RU" sz="1350" dirty="0" smtClean="0">
                <a:latin typeface="Arial" panose="020B0604020202020204"/>
                <a:cs typeface="Arial Narrow" panose="020B0606020202030204"/>
              </a:rPr>
              <a:t>пункты </a:t>
            </a:r>
            <a:r>
              <a:rPr lang="ru-RU" altLang="ru-RU" sz="1350" dirty="0">
                <a:latin typeface="Arial" panose="020B0604020202020204"/>
                <a:cs typeface="Arial Narrow" panose="020B0606020202030204"/>
              </a:rPr>
              <a:t>которой входят в </a:t>
            </a:r>
            <a:r>
              <a:rPr lang="ru-RU" altLang="ru-RU" sz="1350" dirty="0" smtClean="0">
                <a:latin typeface="Arial" panose="020B0604020202020204"/>
                <a:cs typeface="Arial Narrow" panose="020B0606020202030204"/>
              </a:rPr>
              <a:t>агломерацию,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существляе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ыработку и внесение на рассмотрени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кимата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столицы и городов республиканского значения предложений по проведению мероприятий, направленных на продвижение бренда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агломерации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350" dirty="0"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15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46931" y="677054"/>
            <a:ext cx="8887743" cy="31685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МИО столицы 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и городов республиканского значения 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в пределах своей компетенции:</a:t>
            </a:r>
          </a:p>
        </p:txBody>
      </p:sp>
      <p:pic>
        <p:nvPicPr>
          <p:cNvPr id="2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7430" y="1328167"/>
            <a:ext cx="277616" cy="252000"/>
          </a:xfrm>
          <a:prstGeom prst="rect">
            <a:avLst/>
          </a:prstGeom>
        </p:spPr>
      </p:pic>
      <p:pic>
        <p:nvPicPr>
          <p:cNvPr id="22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906912"/>
            <a:ext cx="277616" cy="252000"/>
          </a:xfrm>
          <a:prstGeom prst="rect">
            <a:avLst/>
          </a:prstGeom>
        </p:spPr>
      </p:pic>
      <p:cxnSp>
        <p:nvCxnSpPr>
          <p:cNvPr id="31" name="Прямая соединительная линия 30"/>
          <p:cNvCxnSpPr/>
          <p:nvPr/>
        </p:nvCxnSpPr>
        <p:spPr>
          <a:xfrm flipV="1">
            <a:off x="518494" y="653200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518494" y="998222"/>
            <a:ext cx="4474320" cy="850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853921" y="4916227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10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pic>
        <p:nvPicPr>
          <p:cNvPr id="3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285897"/>
            <a:ext cx="277616" cy="252000"/>
          </a:xfrm>
          <a:prstGeom prst="rect">
            <a:avLst/>
          </a:prstGeom>
        </p:spPr>
      </p:pic>
      <p:sp>
        <p:nvSpPr>
          <p:cNvPr id="38" name="Прямоугольник 15"/>
          <p:cNvSpPr/>
          <p:nvPr/>
        </p:nvSpPr>
        <p:spPr>
          <a:xfrm>
            <a:off x="362958" y="4077133"/>
            <a:ext cx="869706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5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500" dirty="0"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24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71921" y="638662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617"/>
          <p:cNvSpPr/>
          <p:nvPr/>
        </p:nvSpPr>
        <p:spPr>
          <a:xfrm>
            <a:off x="158093" y="724273"/>
            <a:ext cx="209550" cy="1761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pic>
        <p:nvPicPr>
          <p:cNvPr id="3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82540" y="3752259"/>
            <a:ext cx="27761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60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59568" y="54405"/>
            <a:ext cx="87944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Компетенции, передаваемые МИО 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в 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рамках 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сопутствующего 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законопроекта</a:t>
            </a:r>
            <a:endParaRPr lang="ru-RU" alt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14" name="Прямоугольник 15"/>
          <p:cNvSpPr/>
          <p:nvPr/>
        </p:nvSpPr>
        <p:spPr>
          <a:xfrm>
            <a:off x="446931" y="984874"/>
            <a:ext cx="8697069" cy="40857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В компетенции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киматов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илегающих областей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в сфере архитектурной, градостроительной и строительной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деятельности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находятся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: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    -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едоставление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уполномоченному органу ежемесячных отчетов 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по отводам, сегментациям и изменениям целевых 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назначений 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земельных участков на территории 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агломерации </a:t>
            </a:r>
            <a:endParaRPr lang="en-US" sz="12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    -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несение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на согласование в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кимат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столицы, городов республиканского значения 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проекта генерального плана 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населённого 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пункта, 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расположенного 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в пригородной 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зоне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200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500" dirty="0" smtClean="0"/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К компетенции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киматов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столицы, городов республиканского значения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в сфере градостроительной деятельности, осуществляемой в пределах пригородной зоны, относятся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: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  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-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участие 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 выработке государственной градостроительной политики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, применяемой на территории пригородной 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зоны</a:t>
            </a: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   -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участие в разработке проекта генерального плана населенного пункта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, расположенного в пригородной зоне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   - </a:t>
            </a:r>
            <a:r>
              <a:rPr lang="ru-RU" sz="12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огласование проекта генерального плана населенного пункта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, расположенного в пригородной зоне, в части определения проектной численности населения населенного пункта, обеспечения населения местами трудовой занятости, обеспечения населения ресурсами питьевой воды и электроэнергией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200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00" dirty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К компетенции </a:t>
            </a: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киматов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прилегающих районов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в сфере архитектурной, градостроительной и строительной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деятельности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относятся предоставление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кимату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области ежемесячных отчетов по отводам, сегментациям и изменениям целевых назначении земельных участков на территории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агломерации</a:t>
            </a:r>
          </a:p>
        </p:txBody>
      </p:sp>
      <p:sp>
        <p:nvSpPr>
          <p:cNvPr id="15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46931" y="677054"/>
            <a:ext cx="8887743" cy="31685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Об архитектурной, градостроительной и строительной деятельности в 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РК </a:t>
            </a:r>
            <a:r>
              <a:rPr lang="ru-RU" altLang="ru-RU" sz="1100" b="1" i="1" dirty="0" smtClean="0">
                <a:solidFill>
                  <a:srgbClr val="002060"/>
                </a:solidFill>
                <a:latin typeface="Arial" panose="020B0604020202020204" pitchFamily="34" charset="0"/>
              </a:rPr>
              <a:t>(статьи </a:t>
            </a:r>
            <a:r>
              <a:rPr lang="ru-RU" altLang="ru-RU" sz="1100" b="1" i="1" dirty="0">
                <a:solidFill>
                  <a:srgbClr val="002060"/>
                </a:solidFill>
                <a:latin typeface="Arial" panose="020B0604020202020204" pitchFamily="34" charset="0"/>
              </a:rPr>
              <a:t>24, 25)</a:t>
            </a:r>
          </a:p>
        </p:txBody>
      </p:sp>
      <p:sp>
        <p:nvSpPr>
          <p:cNvPr id="17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53860" y="666881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95911" y="1054959"/>
            <a:ext cx="277616" cy="252000"/>
          </a:xfrm>
          <a:prstGeom prst="rect">
            <a:avLst/>
          </a:prstGeom>
        </p:spPr>
      </p:pic>
      <p:cxnSp>
        <p:nvCxnSpPr>
          <p:cNvPr id="31" name="Прямая соединительная линия 30"/>
          <p:cNvCxnSpPr/>
          <p:nvPr/>
        </p:nvCxnSpPr>
        <p:spPr>
          <a:xfrm flipV="1">
            <a:off x="518494" y="653200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518494" y="998222"/>
            <a:ext cx="4474320" cy="850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873827" y="4906909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11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pic>
        <p:nvPicPr>
          <p:cNvPr id="3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95911" y="2428292"/>
            <a:ext cx="277616" cy="252000"/>
          </a:xfrm>
          <a:prstGeom prst="rect">
            <a:avLst/>
          </a:prstGeom>
        </p:spPr>
      </p:pic>
      <p:pic>
        <p:nvPicPr>
          <p:cNvPr id="4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101627" y="4199554"/>
            <a:ext cx="277616" cy="252000"/>
          </a:xfrm>
          <a:prstGeom prst="rect">
            <a:avLst/>
          </a:prstGeom>
        </p:spPr>
      </p:pic>
      <p:cxnSp>
        <p:nvCxnSpPr>
          <p:cNvPr id="26" name="Прямая соединительная линия 25"/>
          <p:cNvCxnSpPr/>
          <p:nvPr/>
        </p:nvCxnSpPr>
        <p:spPr>
          <a:xfrm flipH="1">
            <a:off x="234222" y="2315505"/>
            <a:ext cx="8521998" cy="422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 flipH="1">
            <a:off x="259568" y="4065034"/>
            <a:ext cx="8521998" cy="422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hape 2624"/>
          <p:cNvSpPr/>
          <p:nvPr/>
        </p:nvSpPr>
        <p:spPr>
          <a:xfrm>
            <a:off x="139987" y="730708"/>
            <a:ext cx="209550" cy="209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82" y="6873"/>
                </a:moveTo>
                <a:lnTo>
                  <a:pt x="20618" y="6873"/>
                </a:lnTo>
                <a:lnTo>
                  <a:pt x="20618" y="7855"/>
                </a:lnTo>
                <a:lnTo>
                  <a:pt x="982" y="7855"/>
                </a:lnTo>
                <a:cubicBezTo>
                  <a:pt x="982" y="7855"/>
                  <a:pt x="982" y="6873"/>
                  <a:pt x="982" y="6873"/>
                </a:cubicBezTo>
                <a:close/>
                <a:moveTo>
                  <a:pt x="16691" y="8836"/>
                </a:moveTo>
                <a:lnTo>
                  <a:pt x="18655" y="8836"/>
                </a:lnTo>
                <a:lnTo>
                  <a:pt x="18655" y="17673"/>
                </a:lnTo>
                <a:lnTo>
                  <a:pt x="16691" y="17673"/>
                </a:lnTo>
                <a:cubicBezTo>
                  <a:pt x="16691" y="17673"/>
                  <a:pt x="16691" y="8836"/>
                  <a:pt x="16691" y="8836"/>
                </a:cubicBezTo>
                <a:close/>
                <a:moveTo>
                  <a:pt x="13745" y="8836"/>
                </a:moveTo>
                <a:lnTo>
                  <a:pt x="15709" y="8836"/>
                </a:lnTo>
                <a:lnTo>
                  <a:pt x="15709" y="17673"/>
                </a:lnTo>
                <a:lnTo>
                  <a:pt x="13745" y="17673"/>
                </a:lnTo>
                <a:cubicBezTo>
                  <a:pt x="13745" y="17673"/>
                  <a:pt x="13745" y="8836"/>
                  <a:pt x="13745" y="8836"/>
                </a:cubicBezTo>
                <a:close/>
                <a:moveTo>
                  <a:pt x="8836" y="8836"/>
                </a:moveTo>
                <a:lnTo>
                  <a:pt x="12764" y="8836"/>
                </a:lnTo>
                <a:lnTo>
                  <a:pt x="12764" y="17673"/>
                </a:lnTo>
                <a:lnTo>
                  <a:pt x="8836" y="17673"/>
                </a:lnTo>
                <a:cubicBezTo>
                  <a:pt x="8836" y="17673"/>
                  <a:pt x="8836" y="8836"/>
                  <a:pt x="8836" y="8836"/>
                </a:cubicBezTo>
                <a:close/>
                <a:moveTo>
                  <a:pt x="5891" y="8836"/>
                </a:moveTo>
                <a:lnTo>
                  <a:pt x="7855" y="8836"/>
                </a:lnTo>
                <a:lnTo>
                  <a:pt x="7855" y="17673"/>
                </a:lnTo>
                <a:lnTo>
                  <a:pt x="5891" y="17673"/>
                </a:lnTo>
                <a:cubicBezTo>
                  <a:pt x="5891" y="17673"/>
                  <a:pt x="5891" y="8836"/>
                  <a:pt x="5891" y="8836"/>
                </a:cubicBezTo>
                <a:close/>
                <a:moveTo>
                  <a:pt x="2945" y="8836"/>
                </a:moveTo>
                <a:lnTo>
                  <a:pt x="4909" y="8836"/>
                </a:lnTo>
                <a:lnTo>
                  <a:pt x="4909" y="17673"/>
                </a:lnTo>
                <a:lnTo>
                  <a:pt x="2945" y="17673"/>
                </a:lnTo>
                <a:cubicBezTo>
                  <a:pt x="2945" y="17673"/>
                  <a:pt x="2945" y="8836"/>
                  <a:pt x="2945" y="8836"/>
                </a:cubicBezTo>
                <a:close/>
                <a:moveTo>
                  <a:pt x="19773" y="18655"/>
                </a:moveTo>
                <a:lnTo>
                  <a:pt x="20428" y="20618"/>
                </a:lnTo>
                <a:lnTo>
                  <a:pt x="1172" y="20618"/>
                </a:lnTo>
                <a:lnTo>
                  <a:pt x="1827" y="18655"/>
                </a:lnTo>
                <a:cubicBezTo>
                  <a:pt x="1827" y="18655"/>
                  <a:pt x="19773" y="18655"/>
                  <a:pt x="19773" y="18655"/>
                </a:cubicBezTo>
                <a:close/>
                <a:moveTo>
                  <a:pt x="10800" y="1056"/>
                </a:moveTo>
                <a:lnTo>
                  <a:pt x="19261" y="5891"/>
                </a:lnTo>
                <a:lnTo>
                  <a:pt x="2339" y="5891"/>
                </a:lnTo>
                <a:cubicBezTo>
                  <a:pt x="2339" y="5891"/>
                  <a:pt x="10800" y="1056"/>
                  <a:pt x="10800" y="1056"/>
                </a:cubicBezTo>
                <a:close/>
                <a:moveTo>
                  <a:pt x="21109" y="8836"/>
                </a:moveTo>
                <a:cubicBezTo>
                  <a:pt x="21380" y="8836"/>
                  <a:pt x="21600" y="8617"/>
                  <a:pt x="21600" y="8345"/>
                </a:cubicBezTo>
                <a:lnTo>
                  <a:pt x="21600" y="6382"/>
                </a:lnTo>
                <a:cubicBezTo>
                  <a:pt x="21600" y="6200"/>
                  <a:pt x="21496" y="6047"/>
                  <a:pt x="21349" y="5963"/>
                </a:cubicBezTo>
                <a:lnTo>
                  <a:pt x="21353" y="5956"/>
                </a:lnTo>
                <a:lnTo>
                  <a:pt x="11044" y="65"/>
                </a:lnTo>
                <a:lnTo>
                  <a:pt x="11040" y="72"/>
                </a:lnTo>
                <a:cubicBezTo>
                  <a:pt x="10968" y="30"/>
                  <a:pt x="10889" y="0"/>
                  <a:pt x="10800" y="0"/>
                </a:cubicBezTo>
                <a:cubicBezTo>
                  <a:pt x="10711" y="0"/>
                  <a:pt x="10632" y="30"/>
                  <a:pt x="10560" y="72"/>
                </a:cubicBezTo>
                <a:lnTo>
                  <a:pt x="10556" y="65"/>
                </a:lnTo>
                <a:lnTo>
                  <a:pt x="247" y="5956"/>
                </a:lnTo>
                <a:lnTo>
                  <a:pt x="251" y="5963"/>
                </a:lnTo>
                <a:cubicBezTo>
                  <a:pt x="104" y="6047"/>
                  <a:pt x="0" y="6200"/>
                  <a:pt x="0" y="6382"/>
                </a:cubicBezTo>
                <a:lnTo>
                  <a:pt x="0" y="8345"/>
                </a:lnTo>
                <a:cubicBezTo>
                  <a:pt x="0" y="8617"/>
                  <a:pt x="220" y="8836"/>
                  <a:pt x="491" y="8836"/>
                </a:cubicBezTo>
                <a:lnTo>
                  <a:pt x="1964" y="8836"/>
                </a:lnTo>
                <a:lnTo>
                  <a:pt x="1964" y="17673"/>
                </a:lnTo>
                <a:lnTo>
                  <a:pt x="1473" y="17673"/>
                </a:lnTo>
                <a:cubicBezTo>
                  <a:pt x="1256" y="17673"/>
                  <a:pt x="1078" y="17816"/>
                  <a:pt x="1013" y="18010"/>
                </a:cubicBezTo>
                <a:lnTo>
                  <a:pt x="1007" y="18009"/>
                </a:lnTo>
                <a:lnTo>
                  <a:pt x="25" y="20954"/>
                </a:lnTo>
                <a:lnTo>
                  <a:pt x="31" y="20955"/>
                </a:lnTo>
                <a:cubicBezTo>
                  <a:pt x="14" y="21005"/>
                  <a:pt x="0" y="21055"/>
                  <a:pt x="0" y="21109"/>
                </a:cubicBezTo>
                <a:cubicBezTo>
                  <a:pt x="0" y="21381"/>
                  <a:pt x="220" y="21600"/>
                  <a:pt x="491" y="21600"/>
                </a:cubicBezTo>
                <a:lnTo>
                  <a:pt x="21109" y="21600"/>
                </a:lnTo>
                <a:cubicBezTo>
                  <a:pt x="21380" y="21600"/>
                  <a:pt x="21600" y="21381"/>
                  <a:pt x="21600" y="21109"/>
                </a:cubicBezTo>
                <a:cubicBezTo>
                  <a:pt x="21600" y="21055"/>
                  <a:pt x="21586" y="21005"/>
                  <a:pt x="21569" y="20955"/>
                </a:cubicBezTo>
                <a:lnTo>
                  <a:pt x="21575" y="20954"/>
                </a:lnTo>
                <a:lnTo>
                  <a:pt x="20593" y="18009"/>
                </a:lnTo>
                <a:lnTo>
                  <a:pt x="20587" y="18010"/>
                </a:lnTo>
                <a:cubicBezTo>
                  <a:pt x="20522" y="17816"/>
                  <a:pt x="20344" y="17673"/>
                  <a:pt x="20127" y="17673"/>
                </a:cubicBezTo>
                <a:lnTo>
                  <a:pt x="19636" y="17673"/>
                </a:lnTo>
                <a:lnTo>
                  <a:pt x="19636" y="8836"/>
                </a:lnTo>
                <a:cubicBezTo>
                  <a:pt x="19636" y="8836"/>
                  <a:pt x="21109" y="8836"/>
                  <a:pt x="21109" y="8836"/>
                </a:cubicBezTo>
                <a:close/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94646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42398" y="55374"/>
            <a:ext cx="86687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Компетенции, передаваемые МИО 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в 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рамках 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сопутствующего 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законопроекта</a:t>
            </a:r>
            <a:endParaRPr lang="ru-RU" alt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pic>
        <p:nvPicPr>
          <p:cNvPr id="3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9802" y="2381463"/>
            <a:ext cx="277616" cy="252000"/>
          </a:xfrm>
          <a:prstGeom prst="rect">
            <a:avLst/>
          </a:prstGeom>
        </p:spPr>
      </p:pic>
      <p:sp>
        <p:nvSpPr>
          <p:cNvPr id="24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46931" y="2037660"/>
            <a:ext cx="8887743" cy="31685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Бюджетный 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кодекс </a:t>
            </a:r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РК </a:t>
            </a:r>
            <a:r>
              <a:rPr lang="ru-RU" altLang="ru-RU" sz="1200" b="1" i="1" dirty="0" smtClean="0">
                <a:solidFill>
                  <a:srgbClr val="002060"/>
                </a:solidFill>
                <a:latin typeface="Arial" panose="020B0604020202020204" pitchFamily="34" charset="0"/>
              </a:rPr>
              <a:t>(статьи 42, 212)</a:t>
            </a:r>
            <a:endParaRPr lang="ru-RU" altLang="ru-RU" sz="1200" b="1" i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 flipV="1">
            <a:off x="518494" y="2013806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V="1">
            <a:off x="513306" y="2345015"/>
            <a:ext cx="4474320" cy="850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15"/>
          <p:cNvSpPr/>
          <p:nvPr/>
        </p:nvSpPr>
        <p:spPr>
          <a:xfrm>
            <a:off x="321170" y="2344596"/>
            <a:ext cx="8697069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Взаимоотношения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бюджетов 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(горизонтальные трансферты)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столицы, городов республиканского значения с бюджетами прилегающих областей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350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Заимствование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МИО города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республиканского значения с особым статусом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определенным законодательным актом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РК,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у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МФО осуществляется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в порядке, установленном центральным уполномоченным органом по исполнению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бюджета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500" b="1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300" cap="small" dirty="0" smtClean="0">
              <a:latin typeface="Arial" pitchFamily="34" charset="0"/>
              <a:ea typeface="Tahoma" panose="020B0604030504040204" pitchFamily="34" charset="0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b="1" dirty="0">
                <a:latin typeface="Arial" panose="020B0604020202020204"/>
                <a:cs typeface="Arial Narrow" panose="020B0606020202030204"/>
              </a:rPr>
              <a:t>Условия, объем и целевое назначение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внешних государственных займов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МИО города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республиканского значения с особым статусом, определенным законодательным актом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РК,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определяются по согласованию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с центральным уполномоченным органом по исполнению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бюджета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500" b="1" dirty="0" smtClean="0">
              <a:latin typeface="Arial" panose="020B0604020202020204"/>
              <a:cs typeface="Arial Narrow" panose="020B0606020202030204"/>
            </a:endParaRP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b="1" dirty="0">
                <a:latin typeface="Arial" panose="020B0604020202020204"/>
                <a:cs typeface="Arial Narrow" panose="020B0606020202030204"/>
              </a:rPr>
              <a:t>Заимствование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МИО города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республиканского значения с особым статусом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определенным законодательным актом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РК,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путем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заключения договора внешнего заимствования с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МФО 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осуществляется в пределах установленного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лимита долга, соответствующего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МИО</a:t>
            </a:r>
          </a:p>
        </p:txBody>
      </p:sp>
      <p:pic>
        <p:nvPicPr>
          <p:cNvPr id="37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9802" y="3146560"/>
            <a:ext cx="277616" cy="252000"/>
          </a:xfrm>
          <a:prstGeom prst="rect">
            <a:avLst/>
          </a:prstGeom>
        </p:spPr>
      </p:pic>
      <p:pic>
        <p:nvPicPr>
          <p:cNvPr id="4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9802" y="3793200"/>
            <a:ext cx="277616" cy="252000"/>
          </a:xfrm>
          <a:prstGeom prst="rect">
            <a:avLst/>
          </a:prstGeom>
        </p:spPr>
      </p:pic>
      <p:pic>
        <p:nvPicPr>
          <p:cNvPr id="4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3935" y="4501573"/>
            <a:ext cx="277616" cy="252000"/>
          </a:xfrm>
          <a:prstGeom prst="rect">
            <a:avLst/>
          </a:prstGeom>
        </p:spPr>
      </p:pic>
      <p:sp>
        <p:nvSpPr>
          <p:cNvPr id="26" name="Прямоугольник 15"/>
          <p:cNvSpPr/>
          <p:nvPr/>
        </p:nvSpPr>
        <p:spPr>
          <a:xfrm>
            <a:off x="399127" y="1009197"/>
            <a:ext cx="869706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К компетенции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МИО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области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относятся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резервирование земельных участков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на территории населенных пунктов, которые входят в агломерацию, 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для строительства </a:t>
            </a:r>
            <a:r>
              <a:rPr lang="ru-RU" sz="1350" b="1" dirty="0">
                <a:latin typeface="Arial" panose="020B0604020202020204"/>
                <a:cs typeface="Arial Narrow" panose="020B0606020202030204"/>
              </a:rPr>
              <a:t>объектов социальной, транспортной и инженерной инфраструктуры,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финансируемого местными исполнительными органами столицы, городов республиканского значения</a:t>
            </a:r>
            <a:endParaRPr lang="ru-RU" sz="1350" dirty="0" smtClean="0"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29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57006" y="666271"/>
            <a:ext cx="8887743" cy="31685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Земельный кодекс РК </a:t>
            </a:r>
            <a:r>
              <a:rPr lang="ru-RU" altLang="ru-RU" sz="1200" b="1" i="1" dirty="0" smtClean="0">
                <a:solidFill>
                  <a:srgbClr val="002060"/>
                </a:solidFill>
                <a:latin typeface="Arial" panose="020B0604020202020204" pitchFamily="34" charset="0"/>
              </a:rPr>
              <a:t>(</a:t>
            </a:r>
            <a:r>
              <a:rPr lang="ru-RU" altLang="ru-RU" sz="1200" b="1" i="1" dirty="0">
                <a:solidFill>
                  <a:srgbClr val="002060"/>
                </a:solidFill>
                <a:latin typeface="Arial" panose="020B0604020202020204" pitchFamily="34" charset="0"/>
              </a:rPr>
              <a:t>статья 16)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 flipV="1">
            <a:off x="528569" y="642417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V="1">
            <a:off x="528569" y="997270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8850721" y="4925177"/>
            <a:ext cx="32573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Arial" pitchFamily="34" charset="0"/>
              </a:rPr>
              <a:t>12</a:t>
            </a:r>
            <a:endParaRPr lang="ru-RU" sz="900" dirty="0">
              <a:latin typeface="Arial" pitchFamily="34" charset="0"/>
            </a:endParaRPr>
          </a:p>
        </p:txBody>
      </p:sp>
      <p:sp>
        <p:nvSpPr>
          <p:cNvPr id="18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53860" y="666881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53860" y="1958561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2946"/>
          <p:cNvSpPr/>
          <p:nvPr/>
        </p:nvSpPr>
        <p:spPr>
          <a:xfrm>
            <a:off x="107730" y="708401"/>
            <a:ext cx="249723" cy="27695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95" y="9980"/>
                </a:moveTo>
                <a:cubicBezTo>
                  <a:pt x="19587" y="9894"/>
                  <a:pt x="19575" y="9811"/>
                  <a:pt x="19565" y="9726"/>
                </a:cubicBezTo>
                <a:cubicBezTo>
                  <a:pt x="19542" y="9539"/>
                  <a:pt x="19514" y="9355"/>
                  <a:pt x="19480" y="9172"/>
                </a:cubicBezTo>
                <a:cubicBezTo>
                  <a:pt x="19463" y="9078"/>
                  <a:pt x="19444" y="8986"/>
                  <a:pt x="19424" y="8893"/>
                </a:cubicBezTo>
                <a:cubicBezTo>
                  <a:pt x="19384" y="8712"/>
                  <a:pt x="19337" y="8533"/>
                  <a:pt x="19286" y="8356"/>
                </a:cubicBezTo>
                <a:cubicBezTo>
                  <a:pt x="19263" y="8276"/>
                  <a:pt x="19244" y="8195"/>
                  <a:pt x="19218" y="8116"/>
                </a:cubicBezTo>
                <a:cubicBezTo>
                  <a:pt x="19143" y="7879"/>
                  <a:pt x="19057" y="7646"/>
                  <a:pt x="18963" y="7418"/>
                </a:cubicBezTo>
                <a:cubicBezTo>
                  <a:pt x="18923" y="7321"/>
                  <a:pt x="18876" y="7229"/>
                  <a:pt x="18833" y="7134"/>
                </a:cubicBezTo>
                <a:cubicBezTo>
                  <a:pt x="18771" y="6999"/>
                  <a:pt x="18708" y="6865"/>
                  <a:pt x="18640" y="6734"/>
                </a:cubicBezTo>
                <a:cubicBezTo>
                  <a:pt x="18580" y="6618"/>
                  <a:pt x="18516" y="6504"/>
                  <a:pt x="18450" y="6391"/>
                </a:cubicBezTo>
                <a:cubicBezTo>
                  <a:pt x="18392" y="6291"/>
                  <a:pt x="18331" y="6192"/>
                  <a:pt x="18269" y="6094"/>
                </a:cubicBezTo>
                <a:cubicBezTo>
                  <a:pt x="18192" y="5971"/>
                  <a:pt x="18114" y="5849"/>
                  <a:pt x="18031" y="5731"/>
                </a:cubicBezTo>
                <a:cubicBezTo>
                  <a:pt x="17986" y="5667"/>
                  <a:pt x="17936" y="5605"/>
                  <a:pt x="17889" y="5541"/>
                </a:cubicBezTo>
                <a:cubicBezTo>
                  <a:pt x="17544" y="5080"/>
                  <a:pt x="17159" y="4651"/>
                  <a:pt x="16732" y="4265"/>
                </a:cubicBezTo>
                <a:cubicBezTo>
                  <a:pt x="16705" y="4241"/>
                  <a:pt x="16679" y="4216"/>
                  <a:pt x="16652" y="4192"/>
                </a:cubicBezTo>
                <a:cubicBezTo>
                  <a:pt x="16499" y="4058"/>
                  <a:pt x="16343" y="3927"/>
                  <a:pt x="16181" y="3803"/>
                </a:cubicBezTo>
                <a:cubicBezTo>
                  <a:pt x="16173" y="3796"/>
                  <a:pt x="16165" y="3790"/>
                  <a:pt x="16156" y="3784"/>
                </a:cubicBezTo>
                <a:cubicBezTo>
                  <a:pt x="15459" y="3252"/>
                  <a:pt x="14680" y="2821"/>
                  <a:pt x="13842" y="2513"/>
                </a:cubicBezTo>
                <a:cubicBezTo>
                  <a:pt x="13592" y="2912"/>
                  <a:pt x="13337" y="3420"/>
                  <a:pt x="13040" y="3590"/>
                </a:cubicBezTo>
                <a:cubicBezTo>
                  <a:pt x="12610" y="3835"/>
                  <a:pt x="12641" y="4817"/>
                  <a:pt x="13469" y="4725"/>
                </a:cubicBezTo>
                <a:cubicBezTo>
                  <a:pt x="13469" y="4725"/>
                  <a:pt x="13224" y="4970"/>
                  <a:pt x="13469" y="5860"/>
                </a:cubicBezTo>
                <a:cubicBezTo>
                  <a:pt x="13715" y="6750"/>
                  <a:pt x="14126" y="6943"/>
                  <a:pt x="15341" y="6443"/>
                </a:cubicBezTo>
                <a:cubicBezTo>
                  <a:pt x="15862" y="6228"/>
                  <a:pt x="16258" y="6340"/>
                  <a:pt x="16200" y="6873"/>
                </a:cubicBezTo>
                <a:cubicBezTo>
                  <a:pt x="16077" y="8008"/>
                  <a:pt x="15202" y="7960"/>
                  <a:pt x="15862" y="9788"/>
                </a:cubicBezTo>
                <a:cubicBezTo>
                  <a:pt x="16261" y="10892"/>
                  <a:pt x="17243" y="11322"/>
                  <a:pt x="17611" y="12181"/>
                </a:cubicBezTo>
                <a:cubicBezTo>
                  <a:pt x="17814" y="12653"/>
                  <a:pt x="18591" y="13088"/>
                  <a:pt x="19250" y="13384"/>
                </a:cubicBezTo>
                <a:cubicBezTo>
                  <a:pt x="19321" y="13153"/>
                  <a:pt x="19380" y="12917"/>
                  <a:pt x="19432" y="12677"/>
                </a:cubicBezTo>
                <a:cubicBezTo>
                  <a:pt x="19452" y="12587"/>
                  <a:pt x="19467" y="12494"/>
                  <a:pt x="19484" y="12402"/>
                </a:cubicBezTo>
                <a:cubicBezTo>
                  <a:pt x="19517" y="12224"/>
                  <a:pt x="19545" y="12044"/>
                  <a:pt x="19566" y="11862"/>
                </a:cubicBezTo>
                <a:cubicBezTo>
                  <a:pt x="19576" y="11776"/>
                  <a:pt x="19588" y="11691"/>
                  <a:pt x="19596" y="11604"/>
                </a:cubicBezTo>
                <a:cubicBezTo>
                  <a:pt x="19620" y="11340"/>
                  <a:pt x="19636" y="11072"/>
                  <a:pt x="19636" y="10800"/>
                </a:cubicBezTo>
                <a:cubicBezTo>
                  <a:pt x="19636" y="10523"/>
                  <a:pt x="19620" y="10250"/>
                  <a:pt x="19595" y="998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8407" y="9726"/>
                </a:moveTo>
                <a:cubicBezTo>
                  <a:pt x="8468" y="9020"/>
                  <a:pt x="9603" y="8284"/>
                  <a:pt x="10370" y="7947"/>
                </a:cubicBezTo>
                <a:cubicBezTo>
                  <a:pt x="11137" y="7609"/>
                  <a:pt x="11843" y="7486"/>
                  <a:pt x="11751" y="6903"/>
                </a:cubicBezTo>
                <a:cubicBezTo>
                  <a:pt x="11659" y="6320"/>
                  <a:pt x="11444" y="5891"/>
                  <a:pt x="10248" y="5891"/>
                </a:cubicBezTo>
                <a:cubicBezTo>
                  <a:pt x="9051" y="5891"/>
                  <a:pt x="9573" y="7486"/>
                  <a:pt x="8591" y="6535"/>
                </a:cubicBezTo>
                <a:cubicBezTo>
                  <a:pt x="7609" y="5584"/>
                  <a:pt x="8805" y="5830"/>
                  <a:pt x="9296" y="5615"/>
                </a:cubicBezTo>
                <a:cubicBezTo>
                  <a:pt x="9787" y="5400"/>
                  <a:pt x="10278" y="4510"/>
                  <a:pt x="9419" y="4449"/>
                </a:cubicBezTo>
                <a:cubicBezTo>
                  <a:pt x="8560" y="4388"/>
                  <a:pt x="8744" y="4817"/>
                  <a:pt x="8069" y="4572"/>
                </a:cubicBezTo>
                <a:cubicBezTo>
                  <a:pt x="7394" y="4326"/>
                  <a:pt x="7087" y="5431"/>
                  <a:pt x="6658" y="5277"/>
                </a:cubicBezTo>
                <a:cubicBezTo>
                  <a:pt x="6373" y="5176"/>
                  <a:pt x="5613" y="4605"/>
                  <a:pt x="5110" y="4044"/>
                </a:cubicBezTo>
                <a:cubicBezTo>
                  <a:pt x="4094" y="4900"/>
                  <a:pt x="3277" y="5982"/>
                  <a:pt x="2729" y="7212"/>
                </a:cubicBezTo>
                <a:cubicBezTo>
                  <a:pt x="2875" y="8862"/>
                  <a:pt x="3774" y="9726"/>
                  <a:pt x="3774" y="9726"/>
                </a:cubicBezTo>
                <a:cubicBezTo>
                  <a:pt x="3774" y="9726"/>
                  <a:pt x="4234" y="10800"/>
                  <a:pt x="6995" y="12119"/>
                </a:cubicBezTo>
                <a:cubicBezTo>
                  <a:pt x="6995" y="12119"/>
                  <a:pt x="7517" y="12150"/>
                  <a:pt x="6903" y="11536"/>
                </a:cubicBezTo>
                <a:cubicBezTo>
                  <a:pt x="6290" y="10923"/>
                  <a:pt x="5615" y="10156"/>
                  <a:pt x="6382" y="9757"/>
                </a:cubicBezTo>
                <a:cubicBezTo>
                  <a:pt x="7149" y="9358"/>
                  <a:pt x="7364" y="9389"/>
                  <a:pt x="7548" y="10125"/>
                </a:cubicBezTo>
                <a:cubicBezTo>
                  <a:pt x="7732" y="10861"/>
                  <a:pt x="8345" y="10432"/>
                  <a:pt x="8407" y="9726"/>
                </a:cubicBezTo>
                <a:moveTo>
                  <a:pt x="16246" y="12871"/>
                </a:moveTo>
                <a:cubicBezTo>
                  <a:pt x="15893" y="13086"/>
                  <a:pt x="15908" y="13561"/>
                  <a:pt x="16200" y="13822"/>
                </a:cubicBezTo>
                <a:cubicBezTo>
                  <a:pt x="16491" y="14083"/>
                  <a:pt x="17074" y="14420"/>
                  <a:pt x="17258" y="13822"/>
                </a:cubicBezTo>
                <a:cubicBezTo>
                  <a:pt x="17442" y="13224"/>
                  <a:pt x="16599" y="12656"/>
                  <a:pt x="16246" y="12871"/>
                </a:cubicBezTo>
                <a:moveTo>
                  <a:pt x="12027" y="12948"/>
                </a:moveTo>
                <a:cubicBezTo>
                  <a:pt x="10984" y="12058"/>
                  <a:pt x="11107" y="11659"/>
                  <a:pt x="9787" y="11659"/>
                </a:cubicBezTo>
                <a:cubicBezTo>
                  <a:pt x="8468" y="11659"/>
                  <a:pt x="7640" y="11966"/>
                  <a:pt x="7977" y="13807"/>
                </a:cubicBezTo>
                <a:cubicBezTo>
                  <a:pt x="8315" y="15648"/>
                  <a:pt x="9296" y="14819"/>
                  <a:pt x="9205" y="16231"/>
                </a:cubicBezTo>
                <a:cubicBezTo>
                  <a:pt x="9112" y="17642"/>
                  <a:pt x="9450" y="17949"/>
                  <a:pt x="9665" y="18286"/>
                </a:cubicBezTo>
                <a:cubicBezTo>
                  <a:pt x="9880" y="18624"/>
                  <a:pt x="10524" y="19606"/>
                  <a:pt x="10769" y="18225"/>
                </a:cubicBezTo>
                <a:cubicBezTo>
                  <a:pt x="11015" y="16844"/>
                  <a:pt x="11475" y="16077"/>
                  <a:pt x="11996" y="15402"/>
                </a:cubicBezTo>
                <a:cubicBezTo>
                  <a:pt x="12518" y="14727"/>
                  <a:pt x="13070" y="13837"/>
                  <a:pt x="12027" y="12948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23" name="Shape 2798"/>
          <p:cNvSpPr/>
          <p:nvPr/>
        </p:nvSpPr>
        <p:spPr>
          <a:xfrm>
            <a:off x="112828" y="2072359"/>
            <a:ext cx="259140" cy="1276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502" y="11838"/>
                </a:moveTo>
                <a:cubicBezTo>
                  <a:pt x="11425" y="11731"/>
                  <a:pt x="11338" y="11646"/>
                  <a:pt x="11242" y="11581"/>
                </a:cubicBezTo>
                <a:cubicBezTo>
                  <a:pt x="11144" y="11515"/>
                  <a:pt x="11102" y="11458"/>
                  <a:pt x="11001" y="11410"/>
                </a:cubicBezTo>
                <a:lnTo>
                  <a:pt x="11001" y="14261"/>
                </a:lnTo>
                <a:cubicBezTo>
                  <a:pt x="11238" y="14227"/>
                  <a:pt x="11377" y="14100"/>
                  <a:pt x="11528" y="13875"/>
                </a:cubicBezTo>
                <a:cubicBezTo>
                  <a:pt x="11680" y="13651"/>
                  <a:pt x="11756" y="13293"/>
                  <a:pt x="11756" y="12804"/>
                </a:cubicBezTo>
                <a:cubicBezTo>
                  <a:pt x="11756" y="12576"/>
                  <a:pt x="11733" y="12384"/>
                  <a:pt x="11686" y="12229"/>
                </a:cubicBezTo>
                <a:cubicBezTo>
                  <a:pt x="11640" y="12074"/>
                  <a:pt x="11579" y="11944"/>
                  <a:pt x="11502" y="11838"/>
                </a:cubicBezTo>
                <a:moveTo>
                  <a:pt x="17182" y="16200"/>
                </a:moveTo>
                <a:lnTo>
                  <a:pt x="16200" y="16200"/>
                </a:lnTo>
                <a:cubicBezTo>
                  <a:pt x="15929" y="16200"/>
                  <a:pt x="15709" y="16602"/>
                  <a:pt x="15709" y="17100"/>
                </a:cubicBezTo>
                <a:cubicBezTo>
                  <a:pt x="15709" y="17597"/>
                  <a:pt x="15929" y="18000"/>
                  <a:pt x="16200" y="18000"/>
                </a:cubicBezTo>
                <a:lnTo>
                  <a:pt x="17182" y="18000"/>
                </a:lnTo>
                <a:cubicBezTo>
                  <a:pt x="17453" y="18000"/>
                  <a:pt x="17673" y="17597"/>
                  <a:pt x="17673" y="17100"/>
                </a:cubicBezTo>
                <a:cubicBezTo>
                  <a:pt x="17673" y="16602"/>
                  <a:pt x="17453" y="16200"/>
                  <a:pt x="17182" y="16200"/>
                </a:cubicBezTo>
                <a:moveTo>
                  <a:pt x="9917" y="8509"/>
                </a:moveTo>
                <a:cubicBezTo>
                  <a:pt x="9917" y="8706"/>
                  <a:pt x="9938" y="8872"/>
                  <a:pt x="9982" y="9011"/>
                </a:cubicBezTo>
                <a:cubicBezTo>
                  <a:pt x="10026" y="9150"/>
                  <a:pt x="10082" y="9268"/>
                  <a:pt x="10150" y="9366"/>
                </a:cubicBezTo>
                <a:cubicBezTo>
                  <a:pt x="10219" y="9464"/>
                  <a:pt x="10298" y="9544"/>
                  <a:pt x="10388" y="9605"/>
                </a:cubicBezTo>
                <a:cubicBezTo>
                  <a:pt x="10478" y="9665"/>
                  <a:pt x="10513" y="9717"/>
                  <a:pt x="10605" y="9757"/>
                </a:cubicBezTo>
                <a:lnTo>
                  <a:pt x="10605" y="7311"/>
                </a:lnTo>
                <a:cubicBezTo>
                  <a:pt x="10368" y="7311"/>
                  <a:pt x="10241" y="7402"/>
                  <a:pt x="10111" y="7585"/>
                </a:cubicBezTo>
                <a:cubicBezTo>
                  <a:pt x="9981" y="7769"/>
                  <a:pt x="9917" y="8077"/>
                  <a:pt x="9917" y="8509"/>
                </a:cubicBezTo>
                <a:moveTo>
                  <a:pt x="20127" y="3600"/>
                </a:moveTo>
                <a:cubicBezTo>
                  <a:pt x="19856" y="3600"/>
                  <a:pt x="19636" y="3197"/>
                  <a:pt x="19636" y="2700"/>
                </a:cubicBezTo>
                <a:cubicBezTo>
                  <a:pt x="19636" y="2203"/>
                  <a:pt x="19856" y="1800"/>
                  <a:pt x="20127" y="1800"/>
                </a:cubicBezTo>
                <a:cubicBezTo>
                  <a:pt x="20399" y="1800"/>
                  <a:pt x="20618" y="2203"/>
                  <a:pt x="20618" y="2700"/>
                </a:cubicBezTo>
                <a:cubicBezTo>
                  <a:pt x="20618" y="3197"/>
                  <a:pt x="20399" y="3600"/>
                  <a:pt x="20127" y="3600"/>
                </a:cubicBezTo>
                <a:moveTo>
                  <a:pt x="20618" y="16365"/>
                </a:moveTo>
                <a:cubicBezTo>
                  <a:pt x="20464" y="16265"/>
                  <a:pt x="20300" y="16200"/>
                  <a:pt x="20127" y="16200"/>
                </a:cubicBezTo>
                <a:cubicBezTo>
                  <a:pt x="19314" y="16200"/>
                  <a:pt x="18655" y="17408"/>
                  <a:pt x="18655" y="18900"/>
                </a:cubicBezTo>
                <a:cubicBezTo>
                  <a:pt x="18655" y="19217"/>
                  <a:pt x="18690" y="19517"/>
                  <a:pt x="18745" y="19800"/>
                </a:cubicBezTo>
                <a:lnTo>
                  <a:pt x="2855" y="19800"/>
                </a:lnTo>
                <a:cubicBezTo>
                  <a:pt x="2910" y="19517"/>
                  <a:pt x="2945" y="19217"/>
                  <a:pt x="2945" y="18900"/>
                </a:cubicBezTo>
                <a:cubicBezTo>
                  <a:pt x="2945" y="17408"/>
                  <a:pt x="2286" y="16200"/>
                  <a:pt x="1473" y="16200"/>
                </a:cubicBezTo>
                <a:cubicBezTo>
                  <a:pt x="1300" y="16200"/>
                  <a:pt x="1136" y="16265"/>
                  <a:pt x="982" y="16365"/>
                </a:cubicBezTo>
                <a:lnTo>
                  <a:pt x="982" y="5234"/>
                </a:lnTo>
                <a:cubicBezTo>
                  <a:pt x="1136" y="5335"/>
                  <a:pt x="1300" y="5400"/>
                  <a:pt x="1473" y="5400"/>
                </a:cubicBezTo>
                <a:cubicBezTo>
                  <a:pt x="2286" y="5400"/>
                  <a:pt x="2945" y="4191"/>
                  <a:pt x="2945" y="2700"/>
                </a:cubicBezTo>
                <a:cubicBezTo>
                  <a:pt x="2945" y="2382"/>
                  <a:pt x="2910" y="2083"/>
                  <a:pt x="2855" y="1800"/>
                </a:cubicBezTo>
                <a:lnTo>
                  <a:pt x="18745" y="1800"/>
                </a:lnTo>
                <a:cubicBezTo>
                  <a:pt x="18690" y="2083"/>
                  <a:pt x="18655" y="2382"/>
                  <a:pt x="18655" y="2700"/>
                </a:cubicBezTo>
                <a:cubicBezTo>
                  <a:pt x="18655" y="4191"/>
                  <a:pt x="19314" y="5400"/>
                  <a:pt x="20127" y="5400"/>
                </a:cubicBezTo>
                <a:cubicBezTo>
                  <a:pt x="20300" y="5400"/>
                  <a:pt x="20464" y="5335"/>
                  <a:pt x="20618" y="5234"/>
                </a:cubicBezTo>
                <a:cubicBezTo>
                  <a:pt x="20618" y="5234"/>
                  <a:pt x="20618" y="16365"/>
                  <a:pt x="20618" y="16365"/>
                </a:cubicBezTo>
                <a:close/>
                <a:moveTo>
                  <a:pt x="20127" y="19800"/>
                </a:moveTo>
                <a:cubicBezTo>
                  <a:pt x="19856" y="19800"/>
                  <a:pt x="19636" y="19397"/>
                  <a:pt x="19636" y="18900"/>
                </a:cubicBezTo>
                <a:cubicBezTo>
                  <a:pt x="19636" y="18403"/>
                  <a:pt x="19856" y="18000"/>
                  <a:pt x="20127" y="18000"/>
                </a:cubicBezTo>
                <a:cubicBezTo>
                  <a:pt x="20399" y="18000"/>
                  <a:pt x="20618" y="18403"/>
                  <a:pt x="20618" y="18900"/>
                </a:cubicBezTo>
                <a:cubicBezTo>
                  <a:pt x="20618" y="19397"/>
                  <a:pt x="20399" y="19800"/>
                  <a:pt x="20127" y="19800"/>
                </a:cubicBezTo>
                <a:moveTo>
                  <a:pt x="1473" y="19800"/>
                </a:moveTo>
                <a:cubicBezTo>
                  <a:pt x="1201" y="19800"/>
                  <a:pt x="982" y="19397"/>
                  <a:pt x="982" y="18900"/>
                </a:cubicBezTo>
                <a:cubicBezTo>
                  <a:pt x="982" y="18403"/>
                  <a:pt x="1201" y="18000"/>
                  <a:pt x="1473" y="18000"/>
                </a:cubicBezTo>
                <a:cubicBezTo>
                  <a:pt x="1744" y="18000"/>
                  <a:pt x="1964" y="18403"/>
                  <a:pt x="1964" y="18900"/>
                </a:cubicBezTo>
                <a:cubicBezTo>
                  <a:pt x="1964" y="19397"/>
                  <a:pt x="1744" y="19800"/>
                  <a:pt x="1473" y="19800"/>
                </a:cubicBezTo>
                <a:moveTo>
                  <a:pt x="1473" y="1800"/>
                </a:moveTo>
                <a:cubicBezTo>
                  <a:pt x="1744" y="1800"/>
                  <a:pt x="1964" y="2203"/>
                  <a:pt x="1964" y="2700"/>
                </a:cubicBezTo>
                <a:cubicBezTo>
                  <a:pt x="1964" y="3197"/>
                  <a:pt x="1744" y="3600"/>
                  <a:pt x="1473" y="3600"/>
                </a:cubicBezTo>
                <a:cubicBezTo>
                  <a:pt x="1201" y="3600"/>
                  <a:pt x="982" y="3197"/>
                  <a:pt x="982" y="2700"/>
                </a:cubicBezTo>
                <a:cubicBezTo>
                  <a:pt x="982" y="2203"/>
                  <a:pt x="1201" y="1800"/>
                  <a:pt x="1473" y="1800"/>
                </a:cubicBezTo>
                <a:moveTo>
                  <a:pt x="20618" y="0"/>
                </a:moveTo>
                <a:lnTo>
                  <a:pt x="982" y="0"/>
                </a:lnTo>
                <a:cubicBezTo>
                  <a:pt x="440" y="0"/>
                  <a:pt x="0" y="806"/>
                  <a:pt x="0" y="1800"/>
                </a:cubicBezTo>
                <a:lnTo>
                  <a:pt x="0" y="19800"/>
                </a:lnTo>
                <a:cubicBezTo>
                  <a:pt x="0" y="20794"/>
                  <a:pt x="440" y="21600"/>
                  <a:pt x="982" y="21600"/>
                </a:cubicBezTo>
                <a:lnTo>
                  <a:pt x="20618" y="21600"/>
                </a:lnTo>
                <a:cubicBezTo>
                  <a:pt x="21160" y="21600"/>
                  <a:pt x="21600" y="20794"/>
                  <a:pt x="21600" y="19800"/>
                </a:cubicBezTo>
                <a:lnTo>
                  <a:pt x="21600" y="1800"/>
                </a:lnTo>
                <a:cubicBezTo>
                  <a:pt x="21600" y="806"/>
                  <a:pt x="21160" y="0"/>
                  <a:pt x="20618" y="0"/>
                </a:cubicBezTo>
                <a:moveTo>
                  <a:pt x="12385" y="13801"/>
                </a:moveTo>
                <a:cubicBezTo>
                  <a:pt x="12304" y="14141"/>
                  <a:pt x="12193" y="14422"/>
                  <a:pt x="12052" y="14646"/>
                </a:cubicBezTo>
                <a:cubicBezTo>
                  <a:pt x="11912" y="14871"/>
                  <a:pt x="11747" y="15042"/>
                  <a:pt x="11558" y="15160"/>
                </a:cubicBezTo>
                <a:cubicBezTo>
                  <a:pt x="11369" y="15278"/>
                  <a:pt x="11221" y="15345"/>
                  <a:pt x="11001" y="15362"/>
                </a:cubicBezTo>
                <a:lnTo>
                  <a:pt x="11001" y="16198"/>
                </a:lnTo>
                <a:lnTo>
                  <a:pt x="10605" y="16198"/>
                </a:lnTo>
                <a:lnTo>
                  <a:pt x="10605" y="15362"/>
                </a:lnTo>
                <a:cubicBezTo>
                  <a:pt x="10368" y="15353"/>
                  <a:pt x="10206" y="15284"/>
                  <a:pt x="10009" y="15154"/>
                </a:cubicBezTo>
                <a:cubicBezTo>
                  <a:pt x="9811" y="15023"/>
                  <a:pt x="9642" y="14837"/>
                  <a:pt x="9501" y="14596"/>
                </a:cubicBezTo>
                <a:cubicBezTo>
                  <a:pt x="9361" y="14356"/>
                  <a:pt x="9252" y="14061"/>
                  <a:pt x="9175" y="13710"/>
                </a:cubicBezTo>
                <a:cubicBezTo>
                  <a:pt x="9098" y="13359"/>
                  <a:pt x="9062" y="12956"/>
                  <a:pt x="9066" y="12498"/>
                </a:cubicBezTo>
                <a:lnTo>
                  <a:pt x="9818" y="12498"/>
                </a:lnTo>
                <a:cubicBezTo>
                  <a:pt x="9813" y="13036"/>
                  <a:pt x="9877" y="13461"/>
                  <a:pt x="10009" y="13770"/>
                </a:cubicBezTo>
                <a:cubicBezTo>
                  <a:pt x="10140" y="14081"/>
                  <a:pt x="10302" y="14244"/>
                  <a:pt x="10605" y="14261"/>
                </a:cubicBezTo>
                <a:lnTo>
                  <a:pt x="10605" y="11299"/>
                </a:lnTo>
                <a:cubicBezTo>
                  <a:pt x="10425" y="11209"/>
                  <a:pt x="10302" y="11101"/>
                  <a:pt x="10124" y="10974"/>
                </a:cubicBezTo>
                <a:cubicBezTo>
                  <a:pt x="9946" y="10849"/>
                  <a:pt x="9786" y="10686"/>
                  <a:pt x="9643" y="10485"/>
                </a:cubicBezTo>
                <a:cubicBezTo>
                  <a:pt x="9500" y="10285"/>
                  <a:pt x="9385" y="10035"/>
                  <a:pt x="9297" y="9733"/>
                </a:cubicBezTo>
                <a:cubicBezTo>
                  <a:pt x="9209" y="9431"/>
                  <a:pt x="9165" y="9056"/>
                  <a:pt x="9165" y="8607"/>
                </a:cubicBezTo>
                <a:cubicBezTo>
                  <a:pt x="9165" y="8216"/>
                  <a:pt x="9206" y="7871"/>
                  <a:pt x="9287" y="7574"/>
                </a:cubicBezTo>
                <a:cubicBezTo>
                  <a:pt x="9369" y="7276"/>
                  <a:pt x="9478" y="7026"/>
                  <a:pt x="9617" y="6827"/>
                </a:cubicBezTo>
                <a:cubicBezTo>
                  <a:pt x="9755" y="6627"/>
                  <a:pt x="9914" y="6474"/>
                  <a:pt x="10094" y="6368"/>
                </a:cubicBezTo>
                <a:cubicBezTo>
                  <a:pt x="10275" y="6262"/>
                  <a:pt x="10408" y="6209"/>
                  <a:pt x="10605" y="6209"/>
                </a:cubicBezTo>
                <a:lnTo>
                  <a:pt x="10605" y="5406"/>
                </a:lnTo>
                <a:lnTo>
                  <a:pt x="11001" y="5406"/>
                </a:lnTo>
                <a:lnTo>
                  <a:pt x="11001" y="6209"/>
                </a:lnTo>
                <a:cubicBezTo>
                  <a:pt x="11199" y="6209"/>
                  <a:pt x="11329" y="6257"/>
                  <a:pt x="11505" y="6356"/>
                </a:cubicBezTo>
                <a:cubicBezTo>
                  <a:pt x="11681" y="6454"/>
                  <a:pt x="11834" y="6601"/>
                  <a:pt x="11963" y="6796"/>
                </a:cubicBezTo>
                <a:cubicBezTo>
                  <a:pt x="12093" y="6992"/>
                  <a:pt x="12196" y="7241"/>
                  <a:pt x="12273" y="7543"/>
                </a:cubicBezTo>
                <a:cubicBezTo>
                  <a:pt x="12350" y="7845"/>
                  <a:pt x="12389" y="8195"/>
                  <a:pt x="12389" y="8594"/>
                </a:cubicBezTo>
                <a:lnTo>
                  <a:pt x="11637" y="8594"/>
                </a:lnTo>
                <a:cubicBezTo>
                  <a:pt x="11628" y="8179"/>
                  <a:pt x="11570" y="7860"/>
                  <a:pt x="11463" y="7641"/>
                </a:cubicBezTo>
                <a:cubicBezTo>
                  <a:pt x="11355" y="7420"/>
                  <a:pt x="11238" y="7311"/>
                  <a:pt x="11001" y="7311"/>
                </a:cubicBezTo>
                <a:lnTo>
                  <a:pt x="11001" y="9892"/>
                </a:lnTo>
                <a:cubicBezTo>
                  <a:pt x="11199" y="9990"/>
                  <a:pt x="11336" y="10104"/>
                  <a:pt x="11525" y="10235"/>
                </a:cubicBezTo>
                <a:cubicBezTo>
                  <a:pt x="11714" y="10365"/>
                  <a:pt x="11881" y="10532"/>
                  <a:pt x="12026" y="10736"/>
                </a:cubicBezTo>
                <a:cubicBezTo>
                  <a:pt x="12171" y="10940"/>
                  <a:pt x="12287" y="11193"/>
                  <a:pt x="12375" y="11495"/>
                </a:cubicBezTo>
                <a:cubicBezTo>
                  <a:pt x="12463" y="11797"/>
                  <a:pt x="12507" y="12168"/>
                  <a:pt x="12507" y="12608"/>
                </a:cubicBezTo>
                <a:cubicBezTo>
                  <a:pt x="12507" y="13065"/>
                  <a:pt x="12466" y="13463"/>
                  <a:pt x="12385" y="13801"/>
                </a:cubicBezTo>
                <a:moveTo>
                  <a:pt x="10800" y="3600"/>
                </a:moveTo>
                <a:cubicBezTo>
                  <a:pt x="8631" y="3600"/>
                  <a:pt x="6873" y="6824"/>
                  <a:pt x="6873" y="10800"/>
                </a:cubicBezTo>
                <a:cubicBezTo>
                  <a:pt x="6873" y="14776"/>
                  <a:pt x="8631" y="18000"/>
                  <a:pt x="10800" y="18000"/>
                </a:cubicBezTo>
                <a:cubicBezTo>
                  <a:pt x="12969" y="18000"/>
                  <a:pt x="14727" y="14776"/>
                  <a:pt x="14727" y="10800"/>
                </a:cubicBezTo>
                <a:cubicBezTo>
                  <a:pt x="14727" y="6824"/>
                  <a:pt x="12969" y="3600"/>
                  <a:pt x="10800" y="3600"/>
                </a:cubicBezTo>
                <a:moveTo>
                  <a:pt x="5400" y="3600"/>
                </a:moveTo>
                <a:lnTo>
                  <a:pt x="4418" y="3600"/>
                </a:lnTo>
                <a:cubicBezTo>
                  <a:pt x="4147" y="3600"/>
                  <a:pt x="3927" y="4002"/>
                  <a:pt x="3927" y="4500"/>
                </a:cubicBezTo>
                <a:cubicBezTo>
                  <a:pt x="3927" y="4997"/>
                  <a:pt x="4147" y="5400"/>
                  <a:pt x="4418" y="5400"/>
                </a:cubicBezTo>
                <a:lnTo>
                  <a:pt x="5400" y="5400"/>
                </a:lnTo>
                <a:cubicBezTo>
                  <a:pt x="5671" y="5400"/>
                  <a:pt x="5891" y="4997"/>
                  <a:pt x="5891" y="4500"/>
                </a:cubicBezTo>
                <a:cubicBezTo>
                  <a:pt x="5891" y="4002"/>
                  <a:pt x="5671" y="3600"/>
                  <a:pt x="5400" y="3600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765971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365331" y="-971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зрешение </a:t>
            </a:r>
            <a:r>
              <a:rPr lang="ru-RU" b="1" cap="small" dirty="0" err="1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акимату</a:t>
            </a:r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города Алматы заимствовать на внешних рынках</a:t>
            </a:r>
          </a:p>
        </p:txBody>
      </p:sp>
      <p:sp>
        <p:nvSpPr>
          <p:cNvPr id="19" name="Rectangle: Rounded Corners 30">
            <a:extLst>
              <a:ext uri="{FF2B5EF4-FFF2-40B4-BE49-F238E27FC236}">
                <a16:creationId xmlns:a16="http://schemas.microsoft.com/office/drawing/2014/main" xmlns="" id="{AFCFA259-E264-4202-81A3-76BCA4F319C4}"/>
              </a:ext>
            </a:extLst>
          </p:cNvPr>
          <p:cNvSpPr/>
          <p:nvPr/>
        </p:nvSpPr>
        <p:spPr>
          <a:xfrm>
            <a:off x="147015" y="681622"/>
            <a:ext cx="8943933" cy="728057"/>
          </a:xfrm>
          <a:prstGeom prst="roundRect">
            <a:avLst>
              <a:gd name="adj" fmla="val 5173"/>
            </a:avLst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prstClr val="white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7022" y="1447062"/>
            <a:ext cx="8996985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800" dirty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    </a:t>
            </a:r>
            <a:r>
              <a:rPr lang="ru-RU" sz="1350" b="1" dirty="0" err="1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г.Алматы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имее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рейтинг «</a:t>
            </a:r>
            <a:r>
              <a:rPr lang="en-US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BBB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»</a:t>
            </a:r>
            <a:r>
              <a:rPr lang="en-US" sz="1350" dirty="0">
                <a:latin typeface="Arial" panose="020B0604020202020204"/>
                <a:cs typeface="Arial Narrow" panose="020B0606020202030204"/>
              </a:rPr>
              <a:t>,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присвоенный агентством </a:t>
            </a:r>
            <a:r>
              <a:rPr lang="en-US" sz="1350" dirty="0" err="1">
                <a:latin typeface="Arial" panose="020B0604020202020204"/>
                <a:cs typeface="Arial Narrow" panose="020B0606020202030204"/>
              </a:rPr>
              <a:t>FitchRatings</a:t>
            </a:r>
            <a:r>
              <a:rPr lang="en-US" sz="1350" dirty="0">
                <a:latin typeface="Arial" panose="020B0604020202020204"/>
                <a:cs typeface="Arial Narrow" panose="020B0606020202030204"/>
              </a:rPr>
              <a:t>,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который демонстрирует кредитоспособность города и способность получить доступ к долгосрочному внешнему финансированию. Предварительная кредитная оценка показывает возможность города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ивлечь дополнительно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/>
            </a:r>
            <a:b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</a:br>
            <a:r>
              <a:rPr lang="en-US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100-200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млрд тенге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без ущерба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для финансовой устойчивости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  <a:p>
            <a:pPr algn="just"/>
            <a:endParaRPr lang="ru-RU" sz="1000" dirty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  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олгосрочное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нешнее финансирование может дополнять существующие источники финансирования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особенно для проектов, которые не могут претендовать на финансирование из государственного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бюджета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  <a:p>
            <a:endParaRPr lang="ru-RU" sz="800" dirty="0" smtClean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 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ействующее законодательство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заимствовании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(Бюджетный Кодекс)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граничивае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оступ Алматы к долгосрочному внешнему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финансированию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, это ставит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Алматы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в невыгодное положение в сравнении с другими мегаполисами региона </a:t>
            </a:r>
            <a:r>
              <a:rPr lang="ru-RU" sz="1200" i="1" dirty="0" smtClean="0">
                <a:latin typeface="Arial" panose="020B0604020202020204"/>
                <a:cs typeface="Arial Narrow" panose="020B0606020202030204"/>
              </a:rPr>
              <a:t>(Стамбул</a:t>
            </a:r>
            <a:r>
              <a:rPr lang="ru-RU" sz="1200" i="1" smtClean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200" i="1" smtClean="0">
                <a:latin typeface="Arial" panose="020B0604020202020204"/>
                <a:cs typeface="Arial Narrow" panose="020B0606020202030204"/>
              </a:rPr>
              <a:t>Москва)</a:t>
            </a:r>
            <a:endParaRPr lang="ru-RU" sz="1200" i="1" dirty="0" smtClean="0">
              <a:latin typeface="Arial" panose="020B0604020202020204"/>
              <a:cs typeface="Arial Narrow" panose="020B0606020202030204"/>
            </a:endParaRPr>
          </a:p>
          <a:p>
            <a:endParaRPr lang="ru-RU" sz="800" dirty="0" smtClean="0">
              <a:latin typeface="Arial" panose="020B0604020202020204"/>
              <a:cs typeface="Arial Narrow" panose="020B0606020202030204"/>
            </a:endParaRPr>
          </a:p>
          <a:p>
            <a:endParaRPr lang="ru-RU" sz="500" dirty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 err="1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г.Алматы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может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стать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ервым городом в Центральной Азии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который привлечет внешнее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заимствование</a:t>
            </a:r>
          </a:p>
          <a:p>
            <a:pPr algn="just"/>
            <a:endParaRPr lang="ru-RU" sz="800" dirty="0" smtClean="0">
              <a:latin typeface="Arial" panose="020B0604020202020204"/>
              <a:cs typeface="Arial Narrow" panose="020B0606020202030204"/>
            </a:endParaRPr>
          </a:p>
          <a:p>
            <a:pPr algn="just"/>
            <a:endParaRPr lang="ru-RU" sz="800" dirty="0">
              <a:latin typeface="Arial" panose="020B0604020202020204"/>
              <a:cs typeface="Arial Narrow" panose="020B0606020202030204"/>
            </a:endParaRPr>
          </a:p>
          <a:p>
            <a:pPr algn="just"/>
            <a:endParaRPr lang="ru-RU" sz="500" dirty="0" smtClean="0">
              <a:latin typeface="Arial" panose="020B0604020202020204"/>
              <a:cs typeface="Arial Narrow" panose="020B0606020202030204"/>
            </a:endParaRPr>
          </a:p>
          <a:p>
            <a:pPr algn="just"/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 Условия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, объем и целевое назначение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определяются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по согласованию с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Министерством финансов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</p:txBody>
      </p:sp>
      <p:pic>
        <p:nvPicPr>
          <p:cNvPr id="1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12560" y="1639897"/>
            <a:ext cx="277616" cy="252000"/>
          </a:xfrm>
          <a:prstGeom prst="rect">
            <a:avLst/>
          </a:prstGeom>
        </p:spPr>
      </p:pic>
      <p:pic>
        <p:nvPicPr>
          <p:cNvPr id="1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8703" y="2659532"/>
            <a:ext cx="277616" cy="252000"/>
          </a:xfrm>
          <a:prstGeom prst="rect">
            <a:avLst/>
          </a:prstGeom>
        </p:spPr>
      </p:pic>
      <p:pic>
        <p:nvPicPr>
          <p:cNvPr id="17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12560" y="3358984"/>
            <a:ext cx="277616" cy="252000"/>
          </a:xfrm>
          <a:prstGeom prst="rect">
            <a:avLst/>
          </a:prstGeom>
        </p:spPr>
      </p:pic>
      <p:pic>
        <p:nvPicPr>
          <p:cNvPr id="2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12560" y="4121218"/>
            <a:ext cx="277616" cy="252000"/>
          </a:xfrm>
          <a:prstGeom prst="rect">
            <a:avLst/>
          </a:prstGeom>
        </p:spPr>
      </p:pic>
      <p:sp>
        <p:nvSpPr>
          <p:cNvPr id="22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888106" y="4886465"/>
            <a:ext cx="320488" cy="209866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4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900" dirty="0" smtClean="0">
                <a:latin typeface="Arial" pitchFamily="34" charset="0"/>
                <a:ea typeface="Times New Roman" panose="02020603050405020304" pitchFamily="18" charset="0"/>
              </a:rPr>
              <a:t>13</a:t>
            </a:r>
            <a:endParaRPr lang="ru-RU" sz="9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4356" y="691334"/>
            <a:ext cx="8832210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Цель: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развитие устойчивой инфраструктуры в Алматы и ее агломерации 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(транспортная, коммунальная, социальная, экологическая, «</a:t>
            </a:r>
            <a:r>
              <a:rPr lang="en-US" sz="1350" i="1" dirty="0">
                <a:latin typeface="Arial" panose="020B0604020202020204"/>
                <a:cs typeface="Arial Narrow" panose="020B0606020202030204"/>
              </a:rPr>
              <a:t>smart</a:t>
            </a:r>
            <a:r>
              <a:rPr lang="ru-RU" sz="1350" i="1" dirty="0">
                <a:latin typeface="Arial" panose="020B0604020202020204"/>
                <a:cs typeface="Arial Narrow" panose="020B0606020202030204"/>
              </a:rPr>
              <a:t>» инфраструктура),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в том числе в контексте «зеленой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» экономики и углеродного перехода</a:t>
            </a:r>
          </a:p>
        </p:txBody>
      </p:sp>
      <p:pic>
        <p:nvPicPr>
          <p:cNvPr id="2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-12560" y="4637229"/>
            <a:ext cx="27761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644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Заголовок 1">
            <a:extLst>
              <a:ext uri="{FF2B5EF4-FFF2-40B4-BE49-F238E27FC236}">
                <a16:creationId xmlns:a16="http://schemas.microsoft.com/office/drawing/2014/main" xmlns="" id="{0369BC68-6B08-483F-BF84-D98259AC5806}"/>
              </a:ext>
            </a:extLst>
          </p:cNvPr>
          <p:cNvSpPr txBox="1">
            <a:spLocks/>
          </p:cNvSpPr>
          <p:nvPr/>
        </p:nvSpPr>
        <p:spPr>
          <a:xfrm>
            <a:off x="0" y="71420"/>
            <a:ext cx="9144000" cy="538148"/>
          </a:xfrm>
          <a:prstGeom prst="rect">
            <a:avLst/>
          </a:prstGeom>
        </p:spPr>
        <p:txBody>
          <a:bodyPr anchor="ctr"/>
          <a:lstStyle>
            <a:lvl1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defTabSz="68580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 defTabSz="914355"/>
            <a:r>
              <a:rPr lang="ru-RU" sz="18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ведение в соответствие </a:t>
            </a:r>
            <a:r>
              <a:rPr lang="ru-RU" sz="18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онодательных </a:t>
            </a:r>
            <a:r>
              <a:rPr lang="ru-RU" sz="18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ов:</a:t>
            </a:r>
          </a:p>
        </p:txBody>
      </p:sp>
      <p:sp>
        <p:nvSpPr>
          <p:cNvPr id="17" name="Заголовок 16"/>
          <p:cNvSpPr>
            <a:spLocks noGrp="1"/>
          </p:cNvSpPr>
          <p:nvPr>
            <p:ph type="ctrTitle"/>
          </p:nvPr>
        </p:nvSpPr>
        <p:spPr>
          <a:xfrm>
            <a:off x="687185" y="1420964"/>
            <a:ext cx="8572560" cy="385527"/>
          </a:xfrm>
        </p:spPr>
        <p:txBody>
          <a:bodyPr>
            <a:normAutofit/>
          </a:bodyPr>
          <a:lstStyle/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Бюджетный кодекс РК</a:t>
            </a:r>
          </a:p>
        </p:txBody>
      </p:sp>
      <p:cxnSp>
        <p:nvCxnSpPr>
          <p:cNvPr id="14" name="Straight Connector 32">
            <a:extLst>
              <a:ext uri="{FF2B5EF4-FFF2-40B4-BE49-F238E27FC236}">
                <a16:creationId xmlns:a16="http://schemas.microsoft.com/office/drawing/2014/main" xmlns="" id="{6C0B85D7-80A1-4B3A-96B4-E30488937587}"/>
              </a:ext>
            </a:extLst>
          </p:cNvPr>
          <p:cNvCxnSpPr/>
          <p:nvPr/>
        </p:nvCxnSpPr>
        <p:spPr>
          <a:xfrm flipV="1">
            <a:off x="0" y="596393"/>
            <a:ext cx="9144000" cy="2635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02264" y="4903973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14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37" name="Заголовок 16"/>
          <p:cNvSpPr txBox="1">
            <a:spLocks/>
          </p:cNvSpPr>
          <p:nvPr/>
        </p:nvSpPr>
        <p:spPr>
          <a:xfrm>
            <a:off x="687185" y="1055130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Земельный кодекс РК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98948" y="640115"/>
            <a:ext cx="144783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u="sng" kern="0" dirty="0">
                <a:solidFill>
                  <a:srgbClr val="00B050"/>
                </a:solidFill>
                <a:latin typeface="Arial" panose="020B0604020202020204" pitchFamily="34" charset="0"/>
                <a:ea typeface="+mj-ea"/>
                <a:sym typeface="Arial"/>
              </a:rPr>
              <a:t>2</a:t>
            </a:r>
            <a:r>
              <a:rPr lang="ru-RU" b="1" u="sng" kern="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sym typeface="Arial"/>
              </a:rPr>
              <a:t> </a:t>
            </a:r>
            <a:r>
              <a:rPr lang="ru-RU" sz="1600" b="1" u="sng" kern="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sym typeface="Arial"/>
              </a:rPr>
              <a:t>КОДЕКСА:</a:t>
            </a:r>
            <a:endParaRPr lang="ru-RU" b="1" u="sng" kern="0" dirty="0">
              <a:solidFill>
                <a:srgbClr val="002060"/>
              </a:solidFill>
              <a:latin typeface="Arial" panose="020B0604020202020204" pitchFamily="34" charset="0"/>
              <a:ea typeface="+mj-ea"/>
              <a:sym typeface="Aria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95280" y="2068991"/>
            <a:ext cx="147668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u="sng" kern="0" dirty="0">
                <a:solidFill>
                  <a:srgbClr val="00B050"/>
                </a:solidFill>
                <a:latin typeface="Arial" panose="020B0604020202020204" pitchFamily="34" charset="0"/>
                <a:sym typeface="Arial"/>
              </a:rPr>
              <a:t>5</a:t>
            </a:r>
            <a:r>
              <a:rPr lang="ru-RU" b="1" u="sng" kern="0" dirty="0">
                <a:solidFill>
                  <a:srgbClr val="002060"/>
                </a:solidFill>
                <a:latin typeface="Arial" panose="020B0604020202020204" pitchFamily="34" charset="0"/>
                <a:sym typeface="Arial"/>
              </a:rPr>
              <a:t> </a:t>
            </a:r>
            <a:r>
              <a:rPr lang="ru-RU" sz="1600" b="1" u="sng" kern="0" dirty="0">
                <a:solidFill>
                  <a:srgbClr val="002060"/>
                </a:solidFill>
                <a:latin typeface="Arial" panose="020B0604020202020204" pitchFamily="34" charset="0"/>
                <a:sym typeface="Arial"/>
              </a:rPr>
              <a:t>ЗАКОНОВ:</a:t>
            </a:r>
            <a:endParaRPr lang="ru-RU" b="1" u="sng" kern="0" dirty="0">
              <a:solidFill>
                <a:srgbClr val="002060"/>
              </a:solidFill>
              <a:latin typeface="Arial" panose="020B0604020202020204" pitchFamily="34" charset="0"/>
              <a:sym typeface="Arial"/>
            </a:endParaRPr>
          </a:p>
        </p:txBody>
      </p:sp>
      <p:sp>
        <p:nvSpPr>
          <p:cNvPr id="39" name="Заголовок 16"/>
          <p:cNvSpPr txBox="1">
            <a:spLocks/>
          </p:cNvSpPr>
          <p:nvPr/>
        </p:nvSpPr>
        <p:spPr>
          <a:xfrm>
            <a:off x="687185" y="2604177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Об архитектурной, градостроительной и строительной деятельности в РК</a:t>
            </a:r>
          </a:p>
        </p:txBody>
      </p:sp>
      <p:sp>
        <p:nvSpPr>
          <p:cNvPr id="42" name="Заголовок 16"/>
          <p:cNvSpPr txBox="1">
            <a:spLocks/>
          </p:cNvSpPr>
          <p:nvPr/>
        </p:nvSpPr>
        <p:spPr>
          <a:xfrm>
            <a:off x="687185" y="2969399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Об общественных советах</a:t>
            </a:r>
          </a:p>
        </p:txBody>
      </p:sp>
      <p:sp>
        <p:nvSpPr>
          <p:cNvPr id="43" name="Заголовок 16"/>
          <p:cNvSpPr txBox="1">
            <a:spLocks/>
          </p:cNvSpPr>
          <p:nvPr/>
        </p:nvSpPr>
        <p:spPr>
          <a:xfrm>
            <a:off x="700656" y="3389939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О государственно-частном партнерстве</a:t>
            </a:r>
          </a:p>
        </p:txBody>
      </p:sp>
      <p:sp>
        <p:nvSpPr>
          <p:cNvPr id="45" name="Заголовок 16"/>
          <p:cNvSpPr txBox="1">
            <a:spLocks/>
          </p:cNvSpPr>
          <p:nvPr/>
        </p:nvSpPr>
        <p:spPr>
          <a:xfrm>
            <a:off x="700656" y="3832420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О статусе столицы</a:t>
            </a:r>
          </a:p>
        </p:txBody>
      </p:sp>
      <p:sp>
        <p:nvSpPr>
          <p:cNvPr id="46" name="Заголовок 16"/>
          <p:cNvSpPr txBox="1">
            <a:spLocks/>
          </p:cNvSpPr>
          <p:nvPr/>
        </p:nvSpPr>
        <p:spPr>
          <a:xfrm>
            <a:off x="714819" y="4268728"/>
            <a:ext cx="8572560" cy="385527"/>
          </a:xfrm>
        </p:spPr>
        <p:txBody>
          <a:bodyPr>
            <a:normAutofit/>
          </a:bodyPr>
          <a:lstStyle>
            <a:lvl1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defTabSz="685394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692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3860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0791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7719" algn="l" defTabSz="68539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r>
              <a:rPr lang="ru-RU" sz="1400" i="1" dirty="0">
                <a:latin typeface="Arial" panose="020B0604020202020204" pitchFamily="34" charset="0"/>
                <a:cs typeface="Arial" panose="020B0604020202020204" pitchFamily="34" charset="0"/>
              </a:rPr>
              <a:t>Об особом статусе города Алматы</a:t>
            </a:r>
          </a:p>
        </p:txBody>
      </p:sp>
      <p:pic>
        <p:nvPicPr>
          <p:cNvPr id="3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69037" y="1113634"/>
            <a:ext cx="277616" cy="252000"/>
          </a:xfrm>
          <a:prstGeom prst="rect">
            <a:avLst/>
          </a:prstGeom>
        </p:spPr>
      </p:pic>
      <p:pic>
        <p:nvPicPr>
          <p:cNvPr id="38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92212" y="1465339"/>
            <a:ext cx="277616" cy="252000"/>
          </a:xfrm>
          <a:prstGeom prst="rect">
            <a:avLst/>
          </a:prstGeom>
        </p:spPr>
      </p:pic>
      <p:pic>
        <p:nvPicPr>
          <p:cNvPr id="4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92212" y="2656190"/>
            <a:ext cx="277616" cy="252000"/>
          </a:xfrm>
          <a:prstGeom prst="rect">
            <a:avLst/>
          </a:prstGeom>
        </p:spPr>
      </p:pic>
      <p:pic>
        <p:nvPicPr>
          <p:cNvPr id="4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298211" y="3018228"/>
            <a:ext cx="277616" cy="252000"/>
          </a:xfrm>
          <a:prstGeom prst="rect">
            <a:avLst/>
          </a:prstGeom>
        </p:spPr>
      </p:pic>
      <p:pic>
        <p:nvPicPr>
          <p:cNvPr id="47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319846" y="4309339"/>
            <a:ext cx="277616" cy="252000"/>
          </a:xfrm>
          <a:prstGeom prst="rect">
            <a:avLst/>
          </a:prstGeom>
        </p:spPr>
      </p:pic>
      <p:pic>
        <p:nvPicPr>
          <p:cNvPr id="48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319846" y="3874850"/>
            <a:ext cx="277616" cy="252000"/>
          </a:xfrm>
          <a:prstGeom prst="rect">
            <a:avLst/>
          </a:prstGeom>
        </p:spPr>
      </p:pic>
      <p:pic>
        <p:nvPicPr>
          <p:cNvPr id="49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306375" y="3448639"/>
            <a:ext cx="27761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72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814996" y="2116477"/>
            <a:ext cx="6767333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226037" y="2386351"/>
            <a:ext cx="8229601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r>
              <a:rPr lang="ru-RU" sz="2800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пасибо за внимание! </a:t>
            </a:r>
            <a:endParaRPr lang="ru-RU" sz="2800" b="1" cap="small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135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286">
            <a:extLst>
              <a:ext uri="{FF2B5EF4-FFF2-40B4-BE49-F238E27FC236}">
                <a16:creationId xmlns:a16="http://schemas.microsoft.com/office/drawing/2014/main" xmlns="" id="{787FDF3E-28E4-42A8-9CD3-41238AE9C42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744802"/>
            <a:ext cx="9144000" cy="659097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67" lvl="1" defTabSz="1015934">
              <a:defRPr/>
            </a:pPr>
            <a:endParaRPr lang="en-US" sz="1667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cxnSp>
        <p:nvCxnSpPr>
          <p:cNvPr id="8" name="Straight Connector 32">
            <a:extLst>
              <a:ext uri="{FF2B5EF4-FFF2-40B4-BE49-F238E27FC236}">
                <a16:creationId xmlns:a16="http://schemas.microsoft.com/office/drawing/2014/main" xmlns="" id="{C4E1F449-A720-4745-8102-E905086E995E}"/>
              </a:ext>
            </a:extLst>
          </p:cNvPr>
          <p:cNvCxnSpPr/>
          <p:nvPr/>
        </p:nvCxnSpPr>
        <p:spPr>
          <a:xfrm>
            <a:off x="0" y="615221"/>
            <a:ext cx="9144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ятиугольник 3">
            <a:extLst>
              <a:ext uri="{FF2B5EF4-FFF2-40B4-BE49-F238E27FC236}">
                <a16:creationId xmlns:a16="http://schemas.microsoft.com/office/drawing/2014/main" xmlns="" id="{2EC9F41E-FC8E-46E3-BBCA-600578151C05}"/>
              </a:ext>
            </a:extLst>
          </p:cNvPr>
          <p:cNvSpPr/>
          <p:nvPr/>
        </p:nvSpPr>
        <p:spPr>
          <a:xfrm>
            <a:off x="485861" y="905535"/>
            <a:ext cx="575295" cy="358338"/>
          </a:xfrm>
          <a:prstGeom prst="homePlate">
            <a:avLst>
              <a:gd name="adj" fmla="val 26596"/>
            </a:avLst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42" name="Oval 118">
            <a:extLst>
              <a:ext uri="{FF2B5EF4-FFF2-40B4-BE49-F238E27FC236}">
                <a16:creationId xmlns:a16="http://schemas.microsoft.com/office/drawing/2014/main" xmlns="" id="{B102C385-46E9-486B-A14A-A3B7C643DB43}"/>
              </a:ext>
            </a:extLst>
          </p:cNvPr>
          <p:cNvSpPr/>
          <p:nvPr/>
        </p:nvSpPr>
        <p:spPr>
          <a:xfrm>
            <a:off x="158661" y="782443"/>
            <a:ext cx="592080" cy="59600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cxnSp>
        <p:nvCxnSpPr>
          <p:cNvPr id="52" name="Прямая соединительная линия 303">
            <a:extLst>
              <a:ext uri="{FF2B5EF4-FFF2-40B4-BE49-F238E27FC236}">
                <a16:creationId xmlns:a16="http://schemas.microsoft.com/office/drawing/2014/main" xmlns="" id="{5488EFDB-D9C0-4A9E-9D2B-821DCD515CE3}"/>
              </a:ext>
            </a:extLst>
          </p:cNvPr>
          <p:cNvCxnSpPr>
            <a:cxnSpLocks/>
          </p:cNvCxnSpPr>
          <p:nvPr/>
        </p:nvCxnSpPr>
        <p:spPr>
          <a:xfrm flipH="1">
            <a:off x="2" y="731612"/>
            <a:ext cx="9143997" cy="0"/>
          </a:xfrm>
          <a:prstGeom prst="line">
            <a:avLst/>
          </a:prstGeom>
          <a:ln w="1905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303">
            <a:extLst>
              <a:ext uri="{FF2B5EF4-FFF2-40B4-BE49-F238E27FC236}">
                <a16:creationId xmlns:a16="http://schemas.microsoft.com/office/drawing/2014/main" xmlns="" id="{B56C9A56-A973-4545-AF7F-53274F97207F}"/>
              </a:ext>
            </a:extLst>
          </p:cNvPr>
          <p:cNvCxnSpPr>
            <a:cxnSpLocks/>
          </p:cNvCxnSpPr>
          <p:nvPr/>
        </p:nvCxnSpPr>
        <p:spPr>
          <a:xfrm flipH="1">
            <a:off x="1362513" y="1395948"/>
            <a:ext cx="7786008" cy="0"/>
          </a:xfrm>
          <a:prstGeom prst="line">
            <a:avLst/>
          </a:prstGeom>
          <a:ln w="9525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294482" y="46788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/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Предпосылки для разработки </a:t>
            </a:r>
            <a:r>
              <a:rPr lang="kk-KZ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законопроектов</a:t>
            </a: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86">
            <a:extLst>
              <a:ext uri="{FF2B5EF4-FFF2-40B4-BE49-F238E27FC236}">
                <a16:creationId xmlns:a16="http://schemas.microsoft.com/office/drawing/2014/main" xmlns="" id="{787FDF3E-28E4-42A8-9CD3-41238AE9C42E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0" y="1523276"/>
            <a:ext cx="9144000" cy="661972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67" lvl="1" defTabSz="1015934">
              <a:defRPr/>
            </a:pPr>
            <a:endParaRPr lang="en-US" sz="1667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cxnSp>
        <p:nvCxnSpPr>
          <p:cNvPr id="23" name="Прямая соединительная линия 303">
            <a:extLst>
              <a:ext uri="{FF2B5EF4-FFF2-40B4-BE49-F238E27FC236}">
                <a16:creationId xmlns:a16="http://schemas.microsoft.com/office/drawing/2014/main" xmlns="" id="{5488EFDB-D9C0-4A9E-9D2B-821DCD515CE3}"/>
              </a:ext>
            </a:extLst>
          </p:cNvPr>
          <p:cNvCxnSpPr>
            <a:cxnSpLocks/>
          </p:cNvCxnSpPr>
          <p:nvPr/>
        </p:nvCxnSpPr>
        <p:spPr>
          <a:xfrm flipH="1">
            <a:off x="0" y="1532644"/>
            <a:ext cx="9143997" cy="0"/>
          </a:xfrm>
          <a:prstGeom prst="line">
            <a:avLst/>
          </a:prstGeom>
          <a:ln w="1905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303">
            <a:extLst>
              <a:ext uri="{FF2B5EF4-FFF2-40B4-BE49-F238E27FC236}">
                <a16:creationId xmlns:a16="http://schemas.microsoft.com/office/drawing/2014/main" xmlns="" id="{B56C9A56-A973-4545-AF7F-53274F97207F}"/>
              </a:ext>
            </a:extLst>
          </p:cNvPr>
          <p:cNvCxnSpPr>
            <a:cxnSpLocks/>
          </p:cNvCxnSpPr>
          <p:nvPr/>
        </p:nvCxnSpPr>
        <p:spPr>
          <a:xfrm flipH="1">
            <a:off x="1362513" y="2175140"/>
            <a:ext cx="7786008" cy="0"/>
          </a:xfrm>
          <a:prstGeom prst="line">
            <a:avLst/>
          </a:prstGeom>
          <a:ln w="9525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ятиугольник 3">
            <a:extLst>
              <a:ext uri="{FF2B5EF4-FFF2-40B4-BE49-F238E27FC236}">
                <a16:creationId xmlns:a16="http://schemas.microsoft.com/office/drawing/2014/main" xmlns="" id="{2EC9F41E-FC8E-46E3-BBCA-600578151C05}"/>
              </a:ext>
            </a:extLst>
          </p:cNvPr>
          <p:cNvSpPr/>
          <p:nvPr/>
        </p:nvSpPr>
        <p:spPr>
          <a:xfrm>
            <a:off x="558749" y="1674979"/>
            <a:ext cx="502408" cy="358338"/>
          </a:xfrm>
          <a:prstGeom prst="homePlate">
            <a:avLst>
              <a:gd name="adj" fmla="val 26596"/>
            </a:avLst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7" name="Oval 118">
            <a:extLst>
              <a:ext uri="{FF2B5EF4-FFF2-40B4-BE49-F238E27FC236}">
                <a16:creationId xmlns:a16="http://schemas.microsoft.com/office/drawing/2014/main" xmlns="" id="{B102C385-46E9-486B-A14A-A3B7C643DB43}"/>
              </a:ext>
            </a:extLst>
          </p:cNvPr>
          <p:cNvSpPr/>
          <p:nvPr/>
        </p:nvSpPr>
        <p:spPr>
          <a:xfrm>
            <a:off x="158661" y="1555891"/>
            <a:ext cx="592080" cy="59600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33" name="Rectangle 286">
            <a:extLst>
              <a:ext uri="{FF2B5EF4-FFF2-40B4-BE49-F238E27FC236}">
                <a16:creationId xmlns:a16="http://schemas.microsoft.com/office/drawing/2014/main" xmlns="" id="{787FDF3E-28E4-42A8-9CD3-41238AE9C42E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-3" y="2303886"/>
            <a:ext cx="9144000" cy="661972"/>
          </a:xfrm>
          <a:prstGeom prst="roundRect">
            <a:avLst>
              <a:gd name="adj" fmla="val 0"/>
            </a:avLst>
          </a:prstGeom>
          <a:pattFill prst="ltDnDiag">
            <a:fgClr>
              <a:srgbClr val="C2E3FF"/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67" lvl="1" defTabSz="1015934">
              <a:defRPr/>
            </a:pPr>
            <a:endParaRPr lang="en-US" sz="1667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</a:endParaRPr>
          </a:p>
        </p:txBody>
      </p:sp>
      <p:cxnSp>
        <p:nvCxnSpPr>
          <p:cNvPr id="34" name="Прямая соединительная линия 303">
            <a:extLst>
              <a:ext uri="{FF2B5EF4-FFF2-40B4-BE49-F238E27FC236}">
                <a16:creationId xmlns:a16="http://schemas.microsoft.com/office/drawing/2014/main" xmlns="" id="{B56C9A56-A973-4545-AF7F-53274F97207F}"/>
              </a:ext>
            </a:extLst>
          </p:cNvPr>
          <p:cNvCxnSpPr>
            <a:cxnSpLocks/>
          </p:cNvCxnSpPr>
          <p:nvPr/>
        </p:nvCxnSpPr>
        <p:spPr>
          <a:xfrm flipH="1">
            <a:off x="1357989" y="2947763"/>
            <a:ext cx="7786008" cy="0"/>
          </a:xfrm>
          <a:prstGeom prst="line">
            <a:avLst/>
          </a:prstGeom>
          <a:ln w="9525">
            <a:solidFill>
              <a:srgbClr val="00206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03">
            <a:extLst>
              <a:ext uri="{FF2B5EF4-FFF2-40B4-BE49-F238E27FC236}">
                <a16:creationId xmlns:a16="http://schemas.microsoft.com/office/drawing/2014/main" xmlns="" id="{5488EFDB-D9C0-4A9E-9D2B-821DCD515CE3}"/>
              </a:ext>
            </a:extLst>
          </p:cNvPr>
          <p:cNvCxnSpPr>
            <a:cxnSpLocks/>
          </p:cNvCxnSpPr>
          <p:nvPr/>
        </p:nvCxnSpPr>
        <p:spPr>
          <a:xfrm flipH="1">
            <a:off x="3" y="2303253"/>
            <a:ext cx="9143997" cy="0"/>
          </a:xfrm>
          <a:prstGeom prst="line">
            <a:avLst/>
          </a:prstGeom>
          <a:ln w="19050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ятиугольник 3">
            <a:extLst>
              <a:ext uri="{FF2B5EF4-FFF2-40B4-BE49-F238E27FC236}">
                <a16:creationId xmlns:a16="http://schemas.microsoft.com/office/drawing/2014/main" xmlns="" id="{2EC9F41E-FC8E-46E3-BBCA-600578151C05}"/>
              </a:ext>
            </a:extLst>
          </p:cNvPr>
          <p:cNvSpPr/>
          <p:nvPr/>
        </p:nvSpPr>
        <p:spPr>
          <a:xfrm>
            <a:off x="473590" y="2455703"/>
            <a:ext cx="587565" cy="358338"/>
          </a:xfrm>
          <a:prstGeom prst="homePlate">
            <a:avLst>
              <a:gd name="adj" fmla="val 26596"/>
            </a:avLst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  <p:txBody>
          <a:bodyPr lIns="36000" tIns="0" rIns="36000" bIns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 charset="0"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36" name="Oval 118">
            <a:extLst>
              <a:ext uri="{FF2B5EF4-FFF2-40B4-BE49-F238E27FC236}">
                <a16:creationId xmlns:a16="http://schemas.microsoft.com/office/drawing/2014/main" xmlns="" id="{B102C385-46E9-486B-A14A-A3B7C643DB43}"/>
              </a:ext>
            </a:extLst>
          </p:cNvPr>
          <p:cNvSpPr/>
          <p:nvPr/>
        </p:nvSpPr>
        <p:spPr>
          <a:xfrm>
            <a:off x="158661" y="2336871"/>
            <a:ext cx="592080" cy="596002"/>
          </a:xfrm>
          <a:prstGeom prst="ellipse">
            <a:avLst/>
          </a:prstGeom>
          <a:solidFill>
            <a:schemeClr val="bg1"/>
          </a:solidFill>
          <a:ln w="285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ea typeface="ＭＳ Ｐゴシック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72600" y="918166"/>
            <a:ext cx="4071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</a:rPr>
              <a:t>I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83888" y="879101"/>
            <a:ext cx="806941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0" algn="ctr">
              <a:spcAft>
                <a:spcPts val="0"/>
              </a:spcAft>
              <a:buClr>
                <a:schemeClr val="accent1">
                  <a:lumMod val="75000"/>
                </a:schemeClr>
              </a:buClr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Усиление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дисбалансов</a:t>
            </a:r>
            <a:r>
              <a:rPr lang="ru-RU" alt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в развитии центров агломераций и их пригородных зон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76185" y="1573635"/>
            <a:ext cx="826133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0" algn="ctr">
              <a:spcAft>
                <a:spcPts val="0"/>
              </a:spcAft>
              <a:buClr>
                <a:schemeClr val="accent1">
                  <a:lumMod val="75000"/>
                </a:schemeClr>
              </a:buClr>
              <a:defRPr/>
            </a:pPr>
            <a:r>
              <a:rPr lang="ru-RU" sz="1600" dirty="0">
                <a:latin typeface="Arial" panose="020B0604020202020204" pitchFamily="34" charset="0"/>
              </a:rPr>
              <a:t>Недостаточность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каналов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финансирования</a:t>
            </a:r>
            <a:r>
              <a:rPr lang="en-US" sz="1600" b="1" dirty="0" smtClean="0">
                <a:latin typeface="Arial" panose="020B0604020202020204" pitchFamily="34" charset="0"/>
              </a:rPr>
              <a:t/>
            </a:r>
            <a:br>
              <a:rPr lang="en-US" sz="1600" b="1" dirty="0" smtClean="0">
                <a:latin typeface="Arial" panose="020B0604020202020204" pitchFamily="34" charset="0"/>
              </a:rPr>
            </a:br>
            <a:r>
              <a:rPr lang="ru-RU" sz="1400" i="1" dirty="0" smtClean="0">
                <a:latin typeface="Arial" panose="020B0604020202020204" pitchFamily="34" charset="0"/>
              </a:rPr>
              <a:t>(запрет </a:t>
            </a:r>
            <a:r>
              <a:rPr lang="ru-RU" sz="1400" i="1" dirty="0">
                <a:latin typeface="Arial" panose="020B0604020202020204" pitchFamily="34" charset="0"/>
              </a:rPr>
              <a:t>на взаимоотношения </a:t>
            </a:r>
            <a:r>
              <a:rPr lang="ru-RU" sz="1400" i="1" dirty="0" smtClean="0">
                <a:latin typeface="Arial" panose="020B0604020202020204" pitchFamily="34" charset="0"/>
              </a:rPr>
              <a:t>бюджетов </a:t>
            </a:r>
            <a:r>
              <a:rPr lang="ru-RU" sz="1400" i="1" dirty="0">
                <a:latin typeface="Arial" panose="020B0604020202020204" pitchFamily="34" charset="0"/>
              </a:rPr>
              <a:t>одного </a:t>
            </a:r>
            <a:r>
              <a:rPr lang="ru-RU" sz="1400" i="1" dirty="0" smtClean="0">
                <a:latin typeface="Arial" panose="020B0604020202020204" pitchFamily="34" charset="0"/>
              </a:rPr>
              <a:t>уровня, на заимствование и др.) </a:t>
            </a:r>
            <a:endParaRPr lang="ru-RU" sz="1400" i="1" dirty="0">
              <a:latin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82171" y="2409040"/>
            <a:ext cx="77679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>
              <a:spcBef>
                <a:spcPts val="0"/>
              </a:spcBef>
              <a:spcAft>
                <a:spcPts val="0"/>
              </a:spcAft>
              <a:tabLst>
                <a:tab pos="0" algn="l"/>
              </a:tabLst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Отсутствие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6617B203-DC47-485A-9B5E-863B69AA2A24}"/>
              </a:ext>
            </a:extLst>
          </p:cNvPr>
          <p:cNvSpPr txBox="1"/>
          <p:nvPr/>
        </p:nvSpPr>
        <p:spPr>
          <a:xfrm>
            <a:off x="1368132" y="2979769"/>
            <a:ext cx="7775868" cy="1708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n-US" alt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нормативной </a:t>
            </a:r>
            <a:r>
              <a:rPr lang="ru-RU" altLang="ru-RU" sz="15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правовой </a:t>
            </a:r>
            <a:r>
              <a:rPr lang="ru-RU" alt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базы</a:t>
            </a:r>
            <a:r>
              <a:rPr lang="en-US" alt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и организационных условий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(«четких правил</a:t>
            </a:r>
            <a:r>
              <a:rPr lang="ru-RU" sz="15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»),</a:t>
            </a:r>
            <a:r>
              <a:rPr lang="en-US" sz="15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ru-RU" altLang="ru-RU" sz="15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регулирующих </a:t>
            </a:r>
            <a:r>
              <a:rPr lang="ru-RU" alt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развитие </a:t>
            </a:r>
            <a:r>
              <a:rPr lang="ru-RU" altLang="ru-RU" sz="15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агломераций</a:t>
            </a:r>
            <a:endParaRPr lang="en-US" altLang="ru-RU" sz="1500" dirty="0" smtClean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endParaRPr lang="en-US" altLang="ru-RU" sz="500" b="1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</a:endParaRPr>
          </a:p>
          <a:p>
            <a:pPr lvl="0"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n-US" sz="15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единой 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</a:rPr>
              <a:t>политики развития агломераций</a:t>
            </a:r>
            <a:r>
              <a:rPr lang="ru-RU" sz="1500" b="1" dirty="0">
                <a:latin typeface="Arial" panose="020B0604020202020204" pitchFamily="34" charset="0"/>
              </a:rPr>
              <a:t> </a:t>
            </a:r>
            <a:r>
              <a:rPr lang="ru-RU" sz="1500" dirty="0" smtClean="0">
                <a:latin typeface="Arial" panose="020B0604020202020204" pitchFamily="34" charset="0"/>
              </a:rPr>
              <a:t>и четкого </a:t>
            </a:r>
            <a:r>
              <a:rPr lang="ru-RU" sz="1500" dirty="0">
                <a:latin typeface="Arial" panose="020B0604020202020204" pitchFamily="34" charset="0"/>
              </a:rPr>
              <a:t>разделения функций между центром и пригородной </a:t>
            </a:r>
            <a:r>
              <a:rPr lang="ru-RU" sz="1500" dirty="0" smtClean="0">
                <a:latin typeface="Arial" panose="020B0604020202020204" pitchFamily="34" charset="0"/>
              </a:rPr>
              <a:t>зоной</a:t>
            </a:r>
            <a:endParaRPr lang="en-US" sz="1500" dirty="0" smtClean="0">
              <a:latin typeface="Arial" panose="020B0604020202020204" pitchFamily="34" charset="0"/>
            </a:endParaRPr>
          </a:p>
          <a:p>
            <a:pPr lvl="0"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endParaRPr lang="ru-RU" sz="500" dirty="0" smtClean="0">
              <a:latin typeface="Arial" panose="020B0604020202020204" pitchFamily="34" charset="0"/>
            </a:endParaRPr>
          </a:p>
          <a:p>
            <a:pPr marL="0" lvl="1" indent="0"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en-US" sz="15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ru-RU" sz="15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совместного 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пространственного 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планирования</a:t>
            </a:r>
            <a:r>
              <a:rPr lang="en-US" sz="15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 </a:t>
            </a:r>
            <a:r>
              <a:rPr lang="en-US" sz="1200" i="1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(</a:t>
            </a:r>
            <a:r>
              <a:rPr lang="ru-RU" sz="1200" i="1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градостроительного, земельного и др.</a:t>
            </a:r>
            <a:r>
              <a:rPr lang="en-US" sz="1200" i="1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/>
              </a:rPr>
              <a:t>)</a:t>
            </a:r>
          </a:p>
          <a:p>
            <a:pPr marL="0" lvl="1" indent="0"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endParaRPr lang="ru-RU" sz="500" b="1" dirty="0" smtClean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/>
            </a:endParaRPr>
          </a:p>
          <a:p>
            <a:pPr marL="0" lvl="1" indent="0" algn="just" defTabSz="9144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0" algn="l"/>
              </a:tabLst>
              <a:defRPr/>
            </a:pPr>
            <a:r>
              <a:rPr lang="ru-RU" altLang="ru-RU" sz="1500" b="1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механизмов</a:t>
            </a:r>
            <a:r>
              <a:rPr lang="ru-RU" altLang="ru-RU" sz="1500" b="1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lang="ru-RU" altLang="ru-RU" sz="15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реализации совместных </a:t>
            </a:r>
            <a:r>
              <a:rPr lang="ru-RU" altLang="ru-RU" sz="15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проектов</a:t>
            </a:r>
          </a:p>
        </p:txBody>
      </p:sp>
      <p:cxnSp>
        <p:nvCxnSpPr>
          <p:cNvPr id="46" name="Straight Connector 16">
            <a:extLst>
              <a:ext uri="{FF2B5EF4-FFF2-40B4-BE49-F238E27FC236}">
                <a16:creationId xmlns:a16="http://schemas.microsoft.com/office/drawing/2014/main" xmlns="" id="{0504A3AF-2072-4382-B90B-DED7BB8915D4}"/>
              </a:ext>
            </a:extLst>
          </p:cNvPr>
          <p:cNvCxnSpPr>
            <a:cxnSpLocks/>
          </p:cNvCxnSpPr>
          <p:nvPr/>
        </p:nvCxnSpPr>
        <p:spPr>
          <a:xfrm>
            <a:off x="456415" y="2932873"/>
            <a:ext cx="0" cy="419802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Oval 18">
            <a:extLst>
              <a:ext uri="{FF2B5EF4-FFF2-40B4-BE49-F238E27FC236}">
                <a16:creationId xmlns:a16="http://schemas.microsoft.com/office/drawing/2014/main" xmlns="" id="{649FCB96-A815-4CC4-9686-9BBC2671D605}"/>
              </a:ext>
            </a:extLst>
          </p:cNvPr>
          <p:cNvSpPr/>
          <p:nvPr/>
        </p:nvSpPr>
        <p:spPr>
          <a:xfrm>
            <a:off x="613020" y="3325291"/>
            <a:ext cx="54769" cy="54769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x-none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cxnSp>
        <p:nvCxnSpPr>
          <p:cNvPr id="48" name="Straight Connector 147">
            <a:extLst>
              <a:ext uri="{FF2B5EF4-FFF2-40B4-BE49-F238E27FC236}">
                <a16:creationId xmlns:a16="http://schemas.microsoft.com/office/drawing/2014/main" xmlns="" id="{10089F4F-4194-44C1-99BF-44BD99F0EF37}"/>
              </a:ext>
            </a:extLst>
          </p:cNvPr>
          <p:cNvCxnSpPr>
            <a:cxnSpLocks/>
          </p:cNvCxnSpPr>
          <p:nvPr/>
        </p:nvCxnSpPr>
        <p:spPr>
          <a:xfrm>
            <a:off x="446891" y="3348753"/>
            <a:ext cx="166129" cy="0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687903" y="1684172"/>
            <a:ext cx="3796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</a:rPr>
              <a:t>II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64532" y="2468081"/>
            <a:ext cx="44813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002060"/>
                </a:solidFill>
                <a:latin typeface="Arial" panose="020B0604020202020204" pitchFamily="34" charset="0"/>
              </a:rPr>
              <a:t>III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29" name="Freeform 11"/>
          <p:cNvSpPr>
            <a:spLocks noChangeArrowheads="1"/>
          </p:cNvSpPr>
          <p:nvPr/>
        </p:nvSpPr>
        <p:spPr bwMode="auto">
          <a:xfrm>
            <a:off x="275958" y="2453189"/>
            <a:ext cx="377324" cy="356472"/>
          </a:xfrm>
          <a:custGeom>
            <a:avLst/>
            <a:gdLst>
              <a:gd name="T0" fmla="*/ 204 w 418"/>
              <a:gd name="T1" fmla="*/ 0 h 417"/>
              <a:gd name="T2" fmla="*/ 204 w 418"/>
              <a:gd name="T3" fmla="*/ 0 h 417"/>
              <a:gd name="T4" fmla="*/ 0 w 418"/>
              <a:gd name="T5" fmla="*/ 204 h 417"/>
              <a:gd name="T6" fmla="*/ 204 w 418"/>
              <a:gd name="T7" fmla="*/ 416 h 417"/>
              <a:gd name="T8" fmla="*/ 417 w 418"/>
              <a:gd name="T9" fmla="*/ 204 h 417"/>
              <a:gd name="T10" fmla="*/ 204 w 418"/>
              <a:gd name="T11" fmla="*/ 0 h 417"/>
              <a:gd name="T12" fmla="*/ 328 w 418"/>
              <a:gd name="T13" fmla="*/ 177 h 417"/>
              <a:gd name="T14" fmla="*/ 328 w 418"/>
              <a:gd name="T15" fmla="*/ 177 h 417"/>
              <a:gd name="T16" fmla="*/ 328 w 418"/>
              <a:gd name="T17" fmla="*/ 230 h 417"/>
              <a:gd name="T18" fmla="*/ 80 w 418"/>
              <a:gd name="T19" fmla="*/ 230 h 417"/>
              <a:gd name="T20" fmla="*/ 80 w 418"/>
              <a:gd name="T21" fmla="*/ 177 h 417"/>
              <a:gd name="T22" fmla="*/ 328 w 418"/>
              <a:gd name="T23" fmla="*/ 177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8" h="417">
                <a:moveTo>
                  <a:pt x="204" y="0"/>
                </a:moveTo>
                <a:lnTo>
                  <a:pt x="204" y="0"/>
                </a:lnTo>
                <a:cubicBezTo>
                  <a:pt x="89" y="0"/>
                  <a:pt x="0" y="88"/>
                  <a:pt x="0" y="204"/>
                </a:cubicBezTo>
                <a:cubicBezTo>
                  <a:pt x="0" y="319"/>
                  <a:pt x="89" y="416"/>
                  <a:pt x="204" y="416"/>
                </a:cubicBezTo>
                <a:cubicBezTo>
                  <a:pt x="319" y="416"/>
                  <a:pt x="417" y="319"/>
                  <a:pt x="417" y="204"/>
                </a:cubicBezTo>
                <a:cubicBezTo>
                  <a:pt x="417" y="88"/>
                  <a:pt x="319" y="0"/>
                  <a:pt x="204" y="0"/>
                </a:cubicBezTo>
                <a:close/>
                <a:moveTo>
                  <a:pt x="328" y="177"/>
                </a:moveTo>
                <a:lnTo>
                  <a:pt x="328" y="177"/>
                </a:lnTo>
                <a:cubicBezTo>
                  <a:pt x="328" y="230"/>
                  <a:pt x="328" y="230"/>
                  <a:pt x="328" y="230"/>
                </a:cubicBezTo>
                <a:cubicBezTo>
                  <a:pt x="80" y="230"/>
                  <a:pt x="80" y="230"/>
                  <a:pt x="80" y="230"/>
                </a:cubicBezTo>
                <a:cubicBezTo>
                  <a:pt x="80" y="177"/>
                  <a:pt x="80" y="177"/>
                  <a:pt x="80" y="177"/>
                </a:cubicBezTo>
                <a:lnTo>
                  <a:pt x="328" y="1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/>
          <a:extLst/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30" name="Freeform 110"/>
          <p:cNvSpPr>
            <a:spLocks noChangeArrowheads="1"/>
          </p:cNvSpPr>
          <p:nvPr/>
        </p:nvSpPr>
        <p:spPr bwMode="auto">
          <a:xfrm>
            <a:off x="253216" y="1663558"/>
            <a:ext cx="402970" cy="379403"/>
          </a:xfrm>
          <a:custGeom>
            <a:avLst/>
            <a:gdLst>
              <a:gd name="T0" fmla="*/ 240 w 479"/>
              <a:gd name="T1" fmla="*/ 0 h 471"/>
              <a:gd name="T2" fmla="*/ 240 w 479"/>
              <a:gd name="T3" fmla="*/ 0 h 471"/>
              <a:gd name="T4" fmla="*/ 0 w 479"/>
              <a:gd name="T5" fmla="*/ 231 h 471"/>
              <a:gd name="T6" fmla="*/ 240 w 479"/>
              <a:gd name="T7" fmla="*/ 470 h 471"/>
              <a:gd name="T8" fmla="*/ 478 w 479"/>
              <a:gd name="T9" fmla="*/ 231 h 471"/>
              <a:gd name="T10" fmla="*/ 240 w 479"/>
              <a:gd name="T11" fmla="*/ 0 h 471"/>
              <a:gd name="T12" fmla="*/ 53 w 479"/>
              <a:gd name="T13" fmla="*/ 169 h 471"/>
              <a:gd name="T14" fmla="*/ 53 w 479"/>
              <a:gd name="T15" fmla="*/ 169 h 471"/>
              <a:gd name="T16" fmla="*/ 177 w 479"/>
              <a:gd name="T17" fmla="*/ 222 h 471"/>
              <a:gd name="T18" fmla="*/ 212 w 479"/>
              <a:gd name="T19" fmla="*/ 240 h 471"/>
              <a:gd name="T20" fmla="*/ 240 w 479"/>
              <a:gd name="T21" fmla="*/ 257 h 471"/>
              <a:gd name="T22" fmla="*/ 265 w 479"/>
              <a:gd name="T23" fmla="*/ 266 h 471"/>
              <a:gd name="T24" fmla="*/ 274 w 479"/>
              <a:gd name="T25" fmla="*/ 275 h 471"/>
              <a:gd name="T26" fmla="*/ 265 w 479"/>
              <a:gd name="T27" fmla="*/ 293 h 471"/>
              <a:gd name="T28" fmla="*/ 240 w 479"/>
              <a:gd name="T29" fmla="*/ 302 h 471"/>
              <a:gd name="T30" fmla="*/ 186 w 479"/>
              <a:gd name="T31" fmla="*/ 284 h 471"/>
              <a:gd name="T32" fmla="*/ 159 w 479"/>
              <a:gd name="T33" fmla="*/ 311 h 471"/>
              <a:gd name="T34" fmla="*/ 230 w 479"/>
              <a:gd name="T35" fmla="*/ 347 h 471"/>
              <a:gd name="T36" fmla="*/ 230 w 479"/>
              <a:gd name="T37" fmla="*/ 382 h 471"/>
              <a:gd name="T38" fmla="*/ 257 w 479"/>
              <a:gd name="T39" fmla="*/ 382 h 471"/>
              <a:gd name="T40" fmla="*/ 257 w 479"/>
              <a:gd name="T41" fmla="*/ 347 h 471"/>
              <a:gd name="T42" fmla="*/ 301 w 479"/>
              <a:gd name="T43" fmla="*/ 328 h 471"/>
              <a:gd name="T44" fmla="*/ 319 w 479"/>
              <a:gd name="T45" fmla="*/ 293 h 471"/>
              <a:gd name="T46" fmla="*/ 408 w 479"/>
              <a:gd name="T47" fmla="*/ 328 h 471"/>
              <a:gd name="T48" fmla="*/ 240 w 479"/>
              <a:gd name="T49" fmla="*/ 426 h 471"/>
              <a:gd name="T50" fmla="*/ 44 w 479"/>
              <a:gd name="T51" fmla="*/ 231 h 471"/>
              <a:gd name="T52" fmla="*/ 53 w 479"/>
              <a:gd name="T53" fmla="*/ 169 h 471"/>
              <a:gd name="T54" fmla="*/ 310 w 479"/>
              <a:gd name="T55" fmla="*/ 231 h 471"/>
              <a:gd name="T56" fmla="*/ 310 w 479"/>
              <a:gd name="T57" fmla="*/ 231 h 471"/>
              <a:gd name="T58" fmla="*/ 265 w 479"/>
              <a:gd name="T59" fmla="*/ 213 h 471"/>
              <a:gd name="T60" fmla="*/ 248 w 479"/>
              <a:gd name="T61" fmla="*/ 204 h 471"/>
              <a:gd name="T62" fmla="*/ 212 w 479"/>
              <a:gd name="T63" fmla="*/ 187 h 471"/>
              <a:gd name="T64" fmla="*/ 212 w 479"/>
              <a:gd name="T65" fmla="*/ 187 h 471"/>
              <a:gd name="T66" fmla="*/ 221 w 479"/>
              <a:gd name="T67" fmla="*/ 169 h 471"/>
              <a:gd name="T68" fmla="*/ 240 w 479"/>
              <a:gd name="T69" fmla="*/ 169 h 471"/>
              <a:gd name="T70" fmla="*/ 284 w 479"/>
              <a:gd name="T71" fmla="*/ 178 h 471"/>
              <a:gd name="T72" fmla="*/ 319 w 479"/>
              <a:gd name="T73" fmla="*/ 151 h 471"/>
              <a:gd name="T74" fmla="*/ 257 w 479"/>
              <a:gd name="T75" fmla="*/ 125 h 471"/>
              <a:gd name="T76" fmla="*/ 257 w 479"/>
              <a:gd name="T77" fmla="*/ 90 h 471"/>
              <a:gd name="T78" fmla="*/ 230 w 479"/>
              <a:gd name="T79" fmla="*/ 90 h 471"/>
              <a:gd name="T80" fmla="*/ 230 w 479"/>
              <a:gd name="T81" fmla="*/ 125 h 471"/>
              <a:gd name="T82" fmla="*/ 186 w 479"/>
              <a:gd name="T83" fmla="*/ 143 h 471"/>
              <a:gd name="T84" fmla="*/ 168 w 479"/>
              <a:gd name="T85" fmla="*/ 169 h 471"/>
              <a:gd name="T86" fmla="*/ 80 w 479"/>
              <a:gd name="T87" fmla="*/ 125 h 471"/>
              <a:gd name="T88" fmla="*/ 240 w 479"/>
              <a:gd name="T89" fmla="*/ 37 h 471"/>
              <a:gd name="T90" fmla="*/ 434 w 479"/>
              <a:gd name="T91" fmla="*/ 231 h 471"/>
              <a:gd name="T92" fmla="*/ 425 w 479"/>
              <a:gd name="T93" fmla="*/ 284 h 471"/>
              <a:gd name="T94" fmla="*/ 310 w 479"/>
              <a:gd name="T95" fmla="*/ 231 h 4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79" h="471">
                <a:moveTo>
                  <a:pt x="240" y="0"/>
                </a:moveTo>
                <a:lnTo>
                  <a:pt x="240" y="0"/>
                </a:lnTo>
                <a:cubicBezTo>
                  <a:pt x="106" y="0"/>
                  <a:pt x="0" y="107"/>
                  <a:pt x="0" y="231"/>
                </a:cubicBezTo>
                <a:cubicBezTo>
                  <a:pt x="0" y="364"/>
                  <a:pt x="106" y="470"/>
                  <a:pt x="240" y="470"/>
                </a:cubicBezTo>
                <a:cubicBezTo>
                  <a:pt x="372" y="470"/>
                  <a:pt x="478" y="364"/>
                  <a:pt x="478" y="231"/>
                </a:cubicBezTo>
                <a:cubicBezTo>
                  <a:pt x="478" y="107"/>
                  <a:pt x="372" y="0"/>
                  <a:pt x="240" y="0"/>
                </a:cubicBezTo>
                <a:close/>
                <a:moveTo>
                  <a:pt x="53" y="169"/>
                </a:moveTo>
                <a:lnTo>
                  <a:pt x="53" y="169"/>
                </a:lnTo>
                <a:cubicBezTo>
                  <a:pt x="177" y="222"/>
                  <a:pt x="177" y="222"/>
                  <a:pt x="177" y="222"/>
                </a:cubicBezTo>
                <a:cubicBezTo>
                  <a:pt x="212" y="240"/>
                  <a:pt x="212" y="240"/>
                  <a:pt x="212" y="240"/>
                </a:cubicBezTo>
                <a:cubicBezTo>
                  <a:pt x="240" y="257"/>
                  <a:pt x="240" y="257"/>
                  <a:pt x="240" y="257"/>
                </a:cubicBezTo>
                <a:cubicBezTo>
                  <a:pt x="265" y="266"/>
                  <a:pt x="265" y="266"/>
                  <a:pt x="265" y="266"/>
                </a:cubicBezTo>
                <a:lnTo>
                  <a:pt x="274" y="275"/>
                </a:lnTo>
                <a:cubicBezTo>
                  <a:pt x="274" y="284"/>
                  <a:pt x="265" y="293"/>
                  <a:pt x="265" y="293"/>
                </a:cubicBezTo>
                <a:cubicBezTo>
                  <a:pt x="257" y="302"/>
                  <a:pt x="248" y="302"/>
                  <a:pt x="240" y="302"/>
                </a:cubicBezTo>
                <a:cubicBezTo>
                  <a:pt x="221" y="302"/>
                  <a:pt x="203" y="293"/>
                  <a:pt x="186" y="284"/>
                </a:cubicBezTo>
                <a:cubicBezTo>
                  <a:pt x="159" y="311"/>
                  <a:pt x="159" y="311"/>
                  <a:pt x="159" y="311"/>
                </a:cubicBezTo>
                <a:cubicBezTo>
                  <a:pt x="177" y="328"/>
                  <a:pt x="203" y="347"/>
                  <a:pt x="230" y="347"/>
                </a:cubicBezTo>
                <a:cubicBezTo>
                  <a:pt x="230" y="382"/>
                  <a:pt x="230" y="382"/>
                  <a:pt x="230" y="382"/>
                </a:cubicBezTo>
                <a:cubicBezTo>
                  <a:pt x="257" y="382"/>
                  <a:pt x="257" y="382"/>
                  <a:pt x="257" y="382"/>
                </a:cubicBezTo>
                <a:cubicBezTo>
                  <a:pt x="257" y="347"/>
                  <a:pt x="257" y="347"/>
                  <a:pt x="257" y="347"/>
                </a:cubicBezTo>
                <a:cubicBezTo>
                  <a:pt x="274" y="338"/>
                  <a:pt x="284" y="338"/>
                  <a:pt x="301" y="328"/>
                </a:cubicBezTo>
                <a:cubicBezTo>
                  <a:pt x="310" y="319"/>
                  <a:pt x="319" y="302"/>
                  <a:pt x="319" y="293"/>
                </a:cubicBezTo>
                <a:cubicBezTo>
                  <a:pt x="408" y="328"/>
                  <a:pt x="408" y="328"/>
                  <a:pt x="408" y="328"/>
                </a:cubicBezTo>
                <a:cubicBezTo>
                  <a:pt x="372" y="391"/>
                  <a:pt x="310" y="426"/>
                  <a:pt x="240" y="426"/>
                </a:cubicBezTo>
                <a:cubicBezTo>
                  <a:pt x="133" y="426"/>
                  <a:pt x="44" y="347"/>
                  <a:pt x="44" y="231"/>
                </a:cubicBezTo>
                <a:cubicBezTo>
                  <a:pt x="44" y="213"/>
                  <a:pt x="44" y="187"/>
                  <a:pt x="53" y="169"/>
                </a:cubicBezTo>
                <a:close/>
                <a:moveTo>
                  <a:pt x="310" y="231"/>
                </a:moveTo>
                <a:lnTo>
                  <a:pt x="310" y="231"/>
                </a:lnTo>
                <a:cubicBezTo>
                  <a:pt x="265" y="213"/>
                  <a:pt x="265" y="213"/>
                  <a:pt x="265" y="213"/>
                </a:cubicBezTo>
                <a:cubicBezTo>
                  <a:pt x="248" y="204"/>
                  <a:pt x="248" y="204"/>
                  <a:pt x="248" y="204"/>
                </a:cubicBezTo>
                <a:cubicBezTo>
                  <a:pt x="212" y="187"/>
                  <a:pt x="212" y="187"/>
                  <a:pt x="212" y="187"/>
                </a:cubicBezTo>
                <a:lnTo>
                  <a:pt x="212" y="187"/>
                </a:lnTo>
                <a:cubicBezTo>
                  <a:pt x="212" y="178"/>
                  <a:pt x="221" y="178"/>
                  <a:pt x="221" y="169"/>
                </a:cubicBezTo>
                <a:cubicBezTo>
                  <a:pt x="230" y="169"/>
                  <a:pt x="240" y="169"/>
                  <a:pt x="240" y="169"/>
                </a:cubicBezTo>
                <a:cubicBezTo>
                  <a:pt x="257" y="169"/>
                  <a:pt x="274" y="169"/>
                  <a:pt x="284" y="178"/>
                </a:cubicBezTo>
                <a:cubicBezTo>
                  <a:pt x="319" y="151"/>
                  <a:pt x="319" y="151"/>
                  <a:pt x="319" y="151"/>
                </a:cubicBezTo>
                <a:cubicBezTo>
                  <a:pt x="301" y="134"/>
                  <a:pt x="274" y="125"/>
                  <a:pt x="257" y="125"/>
                </a:cubicBezTo>
                <a:cubicBezTo>
                  <a:pt x="257" y="90"/>
                  <a:pt x="257" y="90"/>
                  <a:pt x="257" y="90"/>
                </a:cubicBezTo>
                <a:cubicBezTo>
                  <a:pt x="230" y="90"/>
                  <a:pt x="230" y="90"/>
                  <a:pt x="230" y="90"/>
                </a:cubicBezTo>
                <a:cubicBezTo>
                  <a:pt x="230" y="125"/>
                  <a:pt x="230" y="125"/>
                  <a:pt x="230" y="125"/>
                </a:cubicBezTo>
                <a:cubicBezTo>
                  <a:pt x="212" y="125"/>
                  <a:pt x="203" y="134"/>
                  <a:pt x="186" y="143"/>
                </a:cubicBezTo>
                <a:cubicBezTo>
                  <a:pt x="177" y="143"/>
                  <a:pt x="168" y="160"/>
                  <a:pt x="168" y="169"/>
                </a:cubicBezTo>
                <a:cubicBezTo>
                  <a:pt x="80" y="125"/>
                  <a:pt x="80" y="125"/>
                  <a:pt x="80" y="125"/>
                </a:cubicBezTo>
                <a:cubicBezTo>
                  <a:pt x="106" y="72"/>
                  <a:pt x="168" y="37"/>
                  <a:pt x="240" y="37"/>
                </a:cubicBezTo>
                <a:cubicBezTo>
                  <a:pt x="346" y="37"/>
                  <a:pt x="434" y="125"/>
                  <a:pt x="434" y="231"/>
                </a:cubicBezTo>
                <a:cubicBezTo>
                  <a:pt x="434" y="249"/>
                  <a:pt x="434" y="266"/>
                  <a:pt x="425" y="284"/>
                </a:cubicBezTo>
                <a:lnTo>
                  <a:pt x="310" y="2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  <a:effectLst/>
          <a:extLst/>
        </p:spPr>
        <p:txBody>
          <a:bodyPr wrap="none" lIns="34290" tIns="17145" rIns="34290" bIns="17145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ea typeface="+mn-ea"/>
            </a:endParaRPr>
          </a:p>
        </p:txBody>
      </p:sp>
      <p:sp>
        <p:nvSpPr>
          <p:cNvPr id="31" name="Shape 2546"/>
          <p:cNvSpPr/>
          <p:nvPr/>
        </p:nvSpPr>
        <p:spPr>
          <a:xfrm>
            <a:off x="266094" y="927233"/>
            <a:ext cx="359804" cy="2979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>
              <a:lumMod val="95000"/>
            </a:schemeClr>
          </a:solidFill>
          <a:ln w="12700">
            <a:solidFill>
              <a:srgbClr val="002060"/>
            </a:solidFill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39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1415" y="4979801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2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4176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479431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algn="ctr"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r>
              <a:rPr lang="ru-RU" sz="2000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снование </a:t>
            </a:r>
            <a:r>
              <a:rPr lang="ru-RU" sz="2000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для разработки </a:t>
            </a:r>
            <a:r>
              <a:rPr lang="kk-KZ" sz="2000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  <a:sym typeface="Arial"/>
              </a:rPr>
              <a:t>законопроектов</a:t>
            </a:r>
            <a:r>
              <a:rPr lang="ru-RU" sz="2000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endParaRPr lang="ru-RU" sz="2000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725" y="1590814"/>
            <a:ext cx="3218339" cy="2050883"/>
          </a:xfrm>
          <a:prstGeom prst="rect">
            <a:avLst/>
          </a:prstGeom>
          <a:noFill/>
          <a:ln w="1587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1415" y="4979801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>
                <a:latin typeface="Arial" pitchFamily="34" charset="0"/>
                <a:ea typeface="Times New Roman" panose="02020603050405020304" pitchFamily="18" charset="0"/>
              </a:rPr>
              <a:t>3</a:t>
            </a:r>
          </a:p>
        </p:txBody>
      </p:sp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3344064" y="686370"/>
            <a:ext cx="5690404" cy="42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sz="1600" dirty="0" smtClean="0">
                <a:latin typeface="Arial" panose="020B0604020202020204" pitchFamily="34" charset="0"/>
              </a:rPr>
              <a:t>Пунктом 55 ОНП по реализации послания Главы государства от 1 сентября 2021 года «Единство народа и системные реформы – прочная основа процветания страны» Правительству РК поручено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разработать </a:t>
            </a:r>
            <a:r>
              <a:rPr lang="ru-RU" sz="1600" dirty="0" smtClean="0">
                <a:latin typeface="Arial" panose="020B0604020202020204" pitchFamily="34" charset="0"/>
              </a:rPr>
              <a:t>Закон «</a:t>
            </a:r>
            <a:r>
              <a:rPr lang="ru-RU" sz="1600" dirty="0">
                <a:latin typeface="Arial" panose="020B0604020202020204" pitchFamily="34" charset="0"/>
              </a:rPr>
              <a:t>О развитии агломераций</a:t>
            </a:r>
            <a:r>
              <a:rPr lang="ru-RU" sz="1600" dirty="0" smtClean="0">
                <a:latin typeface="Arial" panose="020B0604020202020204" pitchFamily="34" charset="0"/>
              </a:rPr>
              <a:t>»</a:t>
            </a:r>
          </a:p>
          <a:p>
            <a:pPr marL="342900" indent="-342900" algn="just">
              <a:buAutoNum type="arabicPeriod"/>
            </a:pPr>
            <a:endParaRPr lang="ru-RU" sz="1600" dirty="0" smtClean="0">
              <a:latin typeface="Arial" panose="020B0604020202020204" pitchFamily="34" charset="0"/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1600" dirty="0" smtClean="0">
                <a:latin typeface="Arial" panose="020B0604020202020204" pitchFamily="34" charset="0"/>
              </a:rPr>
              <a:t>Протоколом </a:t>
            </a:r>
            <a:r>
              <a:rPr lang="ru-RU" sz="1600" dirty="0">
                <a:latin typeface="Arial" panose="020B0604020202020204" pitchFamily="34" charset="0"/>
              </a:rPr>
              <a:t>заседания Высшего совета </a:t>
            </a:r>
            <a:r>
              <a:rPr lang="ru-RU" sz="1600" dirty="0" smtClean="0">
                <a:latin typeface="Arial" panose="020B0604020202020204" pitchFamily="34" charset="0"/>
              </a:rPr>
              <a:t>по </a:t>
            </a:r>
            <a:r>
              <a:rPr lang="ru-RU" sz="1600" dirty="0">
                <a:latin typeface="Arial" panose="020B0604020202020204" pitchFamily="34" charset="0"/>
              </a:rPr>
              <a:t>реформам от 5 мая </a:t>
            </a:r>
            <a:r>
              <a:rPr lang="ru-RU" sz="1600" dirty="0" err="1">
                <a:latin typeface="Arial" panose="020B0604020202020204" pitchFamily="34" charset="0"/>
              </a:rPr>
              <a:t>т.г</a:t>
            </a:r>
            <a:r>
              <a:rPr lang="ru-RU" sz="1600" dirty="0">
                <a:latin typeface="Arial" panose="020B0604020202020204" pitchFamily="34" charset="0"/>
              </a:rPr>
              <a:t>. Правительству РК поручено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обеспечить принятие </a:t>
            </a:r>
            <a:r>
              <a:rPr lang="ru-RU" sz="1600" dirty="0" smtClean="0">
                <a:latin typeface="Arial" panose="020B0604020202020204" pitchFamily="34" charset="0"/>
              </a:rPr>
              <a:t>Закона «</a:t>
            </a:r>
            <a:r>
              <a:rPr lang="ru-RU" sz="1600" dirty="0">
                <a:latin typeface="Arial" panose="020B0604020202020204" pitchFamily="34" charset="0"/>
              </a:rPr>
              <a:t>О развитии агломераций</a:t>
            </a:r>
            <a:r>
              <a:rPr lang="ru-RU" sz="1600" dirty="0" smtClean="0">
                <a:latin typeface="Arial" panose="020B0604020202020204" pitchFamily="34" charset="0"/>
              </a:rPr>
              <a:t>»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b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</a:b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до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конца </a:t>
            </a:r>
            <a:r>
              <a:rPr lang="ru-RU" sz="1600" b="1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т.г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. </a:t>
            </a:r>
            <a:r>
              <a:rPr lang="ru-RU" sz="1200" i="1" dirty="0">
                <a:latin typeface="Arial" panose="020B0604020202020204" pitchFamily="34" charset="0"/>
              </a:rPr>
              <a:t>(пункт </a:t>
            </a:r>
            <a:r>
              <a:rPr lang="ru-RU" sz="1200" i="1" dirty="0" smtClean="0">
                <a:latin typeface="Arial" panose="020B0604020202020204" pitchFamily="34" charset="0"/>
              </a:rPr>
              <a:t>3.3.2) </a:t>
            </a:r>
            <a:endParaRPr lang="ru-RU" sz="1600" dirty="0" smtClean="0">
              <a:latin typeface="Arial" panose="020B0604020202020204" pitchFamily="34" charset="0"/>
            </a:endParaRPr>
          </a:p>
          <a:p>
            <a:pPr marL="342900" indent="-342900" algn="just">
              <a:buFontTx/>
              <a:buAutoNum type="arabicPeriod"/>
            </a:pPr>
            <a:endParaRPr lang="ru-RU" sz="1600" dirty="0">
              <a:latin typeface="Arial" panose="020B0604020202020204" pitchFamily="34" charset="0"/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1600" dirty="0" smtClean="0">
                <a:latin typeface="Arial" panose="020B0604020202020204" pitchFamily="34" charset="0"/>
              </a:rPr>
              <a:t>Протоколом совещания под председательством Президента РК от 17 марта 2021 года </a:t>
            </a:r>
            <a:br>
              <a:rPr lang="ru-RU" sz="1600" dirty="0" smtClean="0">
                <a:latin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</a:rPr>
              <a:t>«О дальнейшем развитии города Алматы» </a:t>
            </a:r>
            <a:r>
              <a:rPr lang="ru-RU" sz="1200" i="1" dirty="0">
                <a:latin typeface="Arial" panose="020B0604020202020204" pitchFamily="34" charset="0"/>
              </a:rPr>
              <a:t>(пункт 2.3)</a:t>
            </a:r>
            <a:r>
              <a:rPr lang="ru-RU" sz="1600" i="1" dirty="0">
                <a:latin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</a:rPr>
              <a:t>Правительству РК поручено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нять меры 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по установлению </a:t>
            </a:r>
            <a:r>
              <a:rPr lang="ru-RU" sz="1600" dirty="0" smtClean="0">
                <a:latin typeface="Arial" panose="020B0604020202020204" pitchFamily="34" charset="0"/>
              </a:rPr>
              <a:t>для города Алматы 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особого порядка заимствования </a:t>
            </a:r>
            <a:r>
              <a:rPr lang="ru-RU" sz="1600" dirty="0" smtClean="0">
                <a:latin typeface="Arial" panose="020B0604020202020204" pitchFamily="34" charset="0"/>
              </a:rPr>
              <a:t>для целей развития</a:t>
            </a:r>
            <a:endParaRPr lang="ru-RU" sz="12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2712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TextBox 68"/>
          <p:cNvSpPr txBox="1"/>
          <p:nvPr/>
        </p:nvSpPr>
        <p:spPr>
          <a:xfrm>
            <a:off x="438646" y="101263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Определение агломерации </a:t>
            </a:r>
          </a:p>
        </p:txBody>
      </p:sp>
      <p:sp>
        <p:nvSpPr>
          <p:cNvPr id="62" name="Прямоугольник 15"/>
          <p:cNvSpPr/>
          <p:nvPr/>
        </p:nvSpPr>
        <p:spPr>
          <a:xfrm>
            <a:off x="-7950" y="578341"/>
            <a:ext cx="91519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</a:rPr>
              <a:t>АГЛОМЕРАЦИЯ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b="1" dirty="0">
                <a:latin typeface="Arial" panose="020B0604020202020204" pitchFamily="34" charset="0"/>
              </a:rPr>
              <a:t>–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локальная система</a:t>
            </a:r>
            <a:r>
              <a:rPr lang="ru-RU" altLang="ru-RU" sz="1600" dirty="0">
                <a:latin typeface="Arial" panose="020B0604020202020204" pitchFamily="34" charset="0"/>
              </a:rPr>
              <a:t>, состоящая из столицы или города республиканского значения или города областного значения (центра агломерации) </a:t>
            </a:r>
            <a:r>
              <a:rPr lang="ru-RU" altLang="ru-RU" sz="1600" dirty="0" smtClean="0">
                <a:latin typeface="Arial" panose="020B0604020202020204" pitchFamily="34" charset="0"/>
              </a:rPr>
              <a:t>с численностью </a:t>
            </a:r>
            <a:r>
              <a:rPr lang="ru-RU" altLang="ru-RU" sz="1600" dirty="0">
                <a:latin typeface="Arial" panose="020B0604020202020204" pitchFamily="34" charset="0"/>
              </a:rPr>
              <a:t>населения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свыше пятисот тысяч человек </a:t>
            </a:r>
            <a:r>
              <a:rPr lang="ru-RU" altLang="ru-RU" sz="1600" dirty="0">
                <a:latin typeface="Arial" panose="020B0604020202020204" pitchFamily="34" charset="0"/>
              </a:rPr>
              <a:t>и расположенных вокруг него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населенных пунктов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</a:rPr>
              <a:t>,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имеющих</a:t>
            </a:r>
            <a:r>
              <a:rPr lang="ru-RU" altLang="ru-RU" sz="1600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altLang="ru-RU" sz="1600" dirty="0">
                <a:latin typeface="Arial" panose="020B0604020202020204" pitchFamily="34" charset="0"/>
              </a:rPr>
              <a:t>повседневные трудовые, производственные, социально-культурные и иные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связи</a:t>
            </a:r>
            <a:r>
              <a:rPr lang="ru-RU" altLang="ru-RU" sz="1600" dirty="0">
                <a:latin typeface="Arial" panose="020B0604020202020204" pitchFamily="34" charset="0"/>
              </a:rPr>
              <a:t>, а также тенденцию к </a:t>
            </a: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территориальному </a:t>
            </a:r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слиянию</a:t>
            </a:r>
            <a:endParaRPr lang="en-US" altLang="ru-RU" sz="16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 flipV="1">
            <a:off x="1473" y="1901780"/>
            <a:ext cx="9151950" cy="207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1415" y="4979801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en-US" sz="800" dirty="0" smtClean="0">
                <a:latin typeface="Arial" pitchFamily="34" charset="0"/>
                <a:ea typeface="Times New Roman" panose="02020603050405020304" pitchFamily="18" charset="0"/>
              </a:rPr>
              <a:t>4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209" name="Прямоугольник 15"/>
          <p:cNvSpPr/>
          <p:nvPr/>
        </p:nvSpPr>
        <p:spPr>
          <a:xfrm>
            <a:off x="371618" y="2123718"/>
            <a:ext cx="846587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dirty="0" smtClean="0">
                <a:latin typeface="Arial" panose="020B0604020202020204" pitchFamily="34" charset="0"/>
              </a:rPr>
              <a:t>Отнесение </a:t>
            </a:r>
            <a:r>
              <a:rPr lang="ru-RU" sz="1400" dirty="0">
                <a:latin typeface="Arial" panose="020B0604020202020204" pitchFamily="34" charset="0"/>
              </a:rPr>
              <a:t>населенных пунктов к агломерациям осуществляется </a:t>
            </a:r>
            <a:r>
              <a:rPr lang="ru-RU" sz="1400" b="1" dirty="0">
                <a:latin typeface="Arial" panose="020B0604020202020204" pitchFamily="34" charset="0"/>
              </a:rPr>
              <a:t>путем их включения в перечень агломераций</a:t>
            </a:r>
            <a:r>
              <a:rPr lang="ru-RU" sz="1400" dirty="0">
                <a:latin typeface="Arial" panose="020B0604020202020204" pitchFamily="34" charset="0"/>
              </a:rPr>
              <a:t>, </a:t>
            </a:r>
            <a:r>
              <a:rPr lang="ru-RU" sz="1400" dirty="0" smtClean="0">
                <a:latin typeface="Arial" panose="020B0604020202020204" pitchFamily="34" charset="0"/>
              </a:rPr>
              <a:t>порядок </a:t>
            </a:r>
            <a:r>
              <a:rPr lang="ru-RU" sz="1400" dirty="0">
                <a:latin typeface="Arial" panose="020B0604020202020204" pitchFamily="34" charset="0"/>
              </a:rPr>
              <a:t>формирования и ведения которого определяется уполномоченным </a:t>
            </a:r>
            <a:r>
              <a:rPr lang="ru-RU" sz="1400" dirty="0" smtClean="0">
                <a:latin typeface="Arial" panose="020B0604020202020204" pitchFamily="34" charset="0"/>
              </a:rPr>
              <a:t>органом </a:t>
            </a:r>
            <a:r>
              <a:rPr lang="ru-RU" sz="1200" i="1" dirty="0">
                <a:latin typeface="Arial" panose="020B0604020202020204" pitchFamily="34" charset="0"/>
              </a:rPr>
              <a:t>(</a:t>
            </a:r>
            <a:r>
              <a:rPr lang="ru-RU" sz="1200" i="1" dirty="0" smtClean="0">
                <a:latin typeface="Arial" panose="020B0604020202020204" pitchFamily="34" charset="0"/>
              </a:rPr>
              <a:t>приказ МНЭ РК</a:t>
            </a:r>
            <a:r>
              <a:rPr lang="en-US" sz="1200" i="1" dirty="0" smtClean="0">
                <a:latin typeface="Arial" panose="020B0604020202020204" pitchFamily="34" charset="0"/>
              </a:rPr>
              <a:t>)</a:t>
            </a:r>
          </a:p>
          <a:p>
            <a:pPr lvl="0" algn="just"/>
            <a:endParaRPr lang="ru-RU" sz="1400" dirty="0" smtClean="0">
              <a:latin typeface="Arial" panose="020B0604020202020204" pitchFamily="34" charset="0"/>
            </a:endParaRPr>
          </a:p>
          <a:p>
            <a:pPr lvl="0" algn="just"/>
            <a:endParaRPr lang="en-US" sz="1400" dirty="0">
              <a:latin typeface="Arial" panose="020B0604020202020204" pitchFamily="34" charset="0"/>
            </a:endParaRPr>
          </a:p>
          <a:p>
            <a:pPr lvl="0" algn="just"/>
            <a:r>
              <a:rPr lang="ru-RU" sz="1400" dirty="0" smtClean="0">
                <a:latin typeface="Arial" panose="020B0604020202020204" pitchFamily="34" charset="0"/>
              </a:rPr>
              <a:t>Перечень </a:t>
            </a:r>
            <a:r>
              <a:rPr lang="ru-RU" sz="1400" dirty="0">
                <a:latin typeface="Arial" panose="020B0604020202020204" pitchFamily="34" charset="0"/>
              </a:rPr>
              <a:t>и состав агломераций </a:t>
            </a:r>
            <a:r>
              <a:rPr lang="ru-RU" sz="1400" dirty="0" smtClean="0">
                <a:latin typeface="Arial" panose="020B0604020202020204" pitchFamily="34" charset="0"/>
              </a:rPr>
              <a:t>утверждается </a:t>
            </a:r>
            <a:r>
              <a:rPr lang="ru-RU" sz="1400" b="1" dirty="0" smtClean="0">
                <a:latin typeface="Arial" panose="020B0604020202020204" pitchFamily="34" charset="0"/>
              </a:rPr>
              <a:t>постановлением Правительств</a:t>
            </a:r>
            <a:r>
              <a:rPr lang="ru-RU" sz="1400" b="1" dirty="0">
                <a:latin typeface="Arial" panose="020B0604020202020204" pitchFamily="34" charset="0"/>
              </a:rPr>
              <a:t>а</a:t>
            </a:r>
            <a:r>
              <a:rPr lang="ru-RU" sz="1400" b="1" dirty="0" smtClean="0">
                <a:latin typeface="Arial" panose="020B0604020202020204" pitchFamily="34" charset="0"/>
              </a:rPr>
              <a:t> РК </a:t>
            </a:r>
            <a:endParaRPr lang="en-US" sz="1400" b="1" dirty="0" smtClean="0">
              <a:latin typeface="Arial" panose="020B0604020202020204" pitchFamily="34" charset="0"/>
            </a:endParaRPr>
          </a:p>
          <a:p>
            <a:pPr lvl="0" algn="just"/>
            <a:endParaRPr lang="ru-RU" sz="1400" dirty="0" smtClean="0">
              <a:solidFill>
                <a:srgbClr val="00B050"/>
              </a:solidFill>
              <a:latin typeface="Arial" panose="020B0604020202020204" pitchFamily="34" charset="0"/>
              <a:cs typeface="Arial Narrow" panose="020B0606020202030204"/>
            </a:endParaRPr>
          </a:p>
          <a:p>
            <a:pPr lvl="0" algn="just"/>
            <a:endParaRPr lang="en-US" sz="1400" dirty="0">
              <a:solidFill>
                <a:srgbClr val="00B050"/>
              </a:solidFill>
              <a:latin typeface="Arial" panose="020B0604020202020204" pitchFamily="34" charset="0"/>
              <a:cs typeface="Arial Narrow" panose="020B0606020202030204"/>
            </a:endParaRPr>
          </a:p>
          <a:p>
            <a:pPr lvl="0" algn="just"/>
            <a:r>
              <a:rPr lang="ru-RU" sz="1400" dirty="0" smtClean="0">
                <a:latin typeface="Arial" panose="020B0604020202020204" pitchFamily="34" charset="0"/>
              </a:rPr>
              <a:t>Включение </a:t>
            </a:r>
            <a:r>
              <a:rPr lang="ru-RU" sz="1400" dirty="0">
                <a:latin typeface="Arial" panose="020B0604020202020204" pitchFamily="34" charset="0"/>
              </a:rPr>
              <a:t>населенных пунктов в перечень и состав агломераций осуществляется </a:t>
            </a:r>
            <a:r>
              <a:rPr lang="ru-RU" sz="1400" b="1" dirty="0" smtClean="0">
                <a:latin typeface="Arial" panose="020B0604020202020204" pitchFamily="34" charset="0"/>
              </a:rPr>
              <a:t>по </a:t>
            </a:r>
            <a:r>
              <a:rPr lang="ru-RU" sz="1400" b="1" dirty="0">
                <a:latin typeface="Arial" panose="020B0604020202020204" pitchFamily="34" charset="0"/>
              </a:rPr>
              <a:t>согласованию с местными исполнительными органами</a:t>
            </a:r>
            <a:r>
              <a:rPr lang="ru-RU" sz="1400" dirty="0">
                <a:latin typeface="Arial" panose="020B0604020202020204" pitchFamily="34" charset="0"/>
              </a:rPr>
              <a:t> столицы, города республиканского значения, области, населенные пункты которой входят в </a:t>
            </a:r>
            <a:r>
              <a:rPr lang="ru-RU" sz="1400" dirty="0" smtClean="0">
                <a:latin typeface="Arial" panose="020B0604020202020204" pitchFamily="34" charset="0"/>
              </a:rPr>
              <a:t>агломерацию</a:t>
            </a:r>
            <a:endParaRPr lang="ru-RU" sz="1400" dirty="0">
              <a:latin typeface="Arial" panose="020B0604020202020204" pitchFamily="34" charset="0"/>
            </a:endParaRPr>
          </a:p>
        </p:txBody>
      </p:sp>
      <p:pic>
        <p:nvPicPr>
          <p:cNvPr id="213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002" y="2189371"/>
            <a:ext cx="277616" cy="252000"/>
          </a:xfrm>
          <a:prstGeom prst="rect">
            <a:avLst/>
          </a:prstGeom>
        </p:spPr>
      </p:pic>
      <p:pic>
        <p:nvPicPr>
          <p:cNvPr id="21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6224" y="3233170"/>
            <a:ext cx="277616" cy="252000"/>
          </a:xfrm>
          <a:prstGeom prst="rect">
            <a:avLst/>
          </a:prstGeom>
        </p:spPr>
      </p:pic>
      <p:pic>
        <p:nvPicPr>
          <p:cNvPr id="21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4002" y="3879345"/>
            <a:ext cx="277616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57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Прямая соединительная линия 51"/>
          <p:cNvCxnSpPr>
            <a:stCxn id="21" idx="6"/>
          </p:cNvCxnSpPr>
          <p:nvPr/>
        </p:nvCxnSpPr>
        <p:spPr>
          <a:xfrm flipV="1">
            <a:off x="2083265" y="2433197"/>
            <a:ext cx="7051682" cy="1"/>
          </a:xfrm>
          <a:prstGeom prst="line">
            <a:avLst/>
          </a:prstGeom>
          <a:ln w="15875">
            <a:solidFill>
              <a:srgbClr val="1D499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6797168" y="575613"/>
            <a:ext cx="2349169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none">
            <a:spAutoFit/>
          </a:bodyPr>
          <a:lstStyle/>
          <a:p>
            <a:pPr marL="0" marR="0" lvl="0" indent="0" algn="ctr" defTabSz="6901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002060"/>
                </a:solidFill>
                <a:latin typeface="Arial" panose="020B0604020202020204"/>
              </a:rPr>
              <a:t>Республиканский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уровен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839126" y="2449100"/>
            <a:ext cx="2295821" cy="30777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scene3d>
            <a:camera prst="orthographicFront"/>
            <a:lightRig rig="threePt" dir="t"/>
          </a:scene3d>
          <a:sp3d>
            <a:bevelT w="152400" h="50800" prst="softRound"/>
          </a:sp3d>
        </p:spPr>
        <p:txBody>
          <a:bodyPr wrap="square">
            <a:spAutoFit/>
          </a:bodyPr>
          <a:lstStyle/>
          <a:p>
            <a:pPr marL="0" marR="0" lvl="0" indent="0" algn="l" defTabSz="6901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rgbClr val="002060"/>
                </a:solidFill>
                <a:latin typeface="Arial" panose="020B0604020202020204"/>
              </a:rPr>
              <a:t>Региональный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уровен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Arial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406093" y="85210"/>
            <a:ext cx="833181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901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одель управления агломерацией</a:t>
            </a:r>
            <a:endParaRPr kumimoji="0" lang="ru-RU" sz="2000" b="1" i="0" u="none" strike="noStrike" kern="1200" cap="small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7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28559" y="4053147"/>
            <a:ext cx="2533971" cy="753857"/>
          </a:xfrm>
          <a:prstGeom prst="round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4" name="Прямоугольник 103"/>
          <p:cNvSpPr/>
          <p:nvPr/>
        </p:nvSpPr>
        <p:spPr>
          <a:xfrm>
            <a:off x="6507681" y="4060743"/>
            <a:ext cx="25757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А</a:t>
            </a:r>
            <a:r>
              <a:rPr kumimoji="0" lang="ru-RU" alt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киматы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 и </a:t>
            </a:r>
            <a:r>
              <a:rPr kumimoji="0" lang="ru-RU" altLang="ru-RU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маслихаты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 районов</a:t>
            </a:r>
            <a:r>
              <a:rPr kumimoji="0" lang="en-US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областей, 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едставители НПО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489185" y="1685963"/>
            <a:ext cx="1594080" cy="1494469"/>
            <a:chOff x="292142" y="1781974"/>
            <a:chExt cx="2879999" cy="2880000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292142" y="1781974"/>
              <a:ext cx="2879999" cy="2880000"/>
              <a:chOff x="997047" y="1860292"/>
              <a:chExt cx="2160000" cy="2160000"/>
            </a:xfrm>
          </p:grpSpPr>
          <p:grpSp>
            <p:nvGrpSpPr>
              <p:cNvPr id="20" name="Группа 19"/>
              <p:cNvGrpSpPr/>
              <p:nvPr/>
            </p:nvGrpSpPr>
            <p:grpSpPr>
              <a:xfrm>
                <a:off x="1087048" y="1950293"/>
                <a:ext cx="1980000" cy="1980000"/>
                <a:chOff x="1087048" y="1950293"/>
                <a:chExt cx="1980000" cy="1980000"/>
              </a:xfrm>
            </p:grpSpPr>
            <p:sp>
              <p:nvSpPr>
                <p:cNvPr id="22" name="Овал 21"/>
                <p:cNvSpPr/>
                <p:nvPr/>
              </p:nvSpPr>
              <p:spPr>
                <a:xfrm>
                  <a:off x="1087048" y="1950293"/>
                  <a:ext cx="1980000" cy="1980000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  <a:alpha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9015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23" name="Овал 22"/>
                <p:cNvSpPr/>
                <p:nvPr/>
              </p:nvSpPr>
              <p:spPr>
                <a:xfrm>
                  <a:off x="1183970" y="2040292"/>
                  <a:ext cx="1800000" cy="1800000"/>
                </a:xfrm>
                <a:prstGeom prst="ellipse">
                  <a:avLst/>
                </a:prstGeom>
                <a:solidFill>
                  <a:schemeClr val="accent1">
                    <a:alpha val="94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69015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000" b="1" i="0" u="none" strike="noStrike" kern="1200" cap="small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1" name="Овал 20"/>
              <p:cNvSpPr/>
              <p:nvPr/>
            </p:nvSpPr>
            <p:spPr>
              <a:xfrm>
                <a:off x="997047" y="1860292"/>
                <a:ext cx="2160000" cy="2160000"/>
              </a:xfrm>
              <a:prstGeom prst="ellipse">
                <a:avLst/>
              </a:prstGeom>
              <a:noFill/>
              <a:ln w="19050">
                <a:solidFill>
                  <a:srgbClr val="1D4999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9015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9" name="TextBox 18"/>
            <p:cNvSpPr txBox="1"/>
            <p:nvPr/>
          </p:nvSpPr>
          <p:spPr>
            <a:xfrm>
              <a:off x="412140" y="2677103"/>
              <a:ext cx="2655094" cy="8896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69015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b="1" dirty="0" smtClean="0">
                  <a:solidFill>
                    <a:prstClr val="white"/>
                  </a:solidFill>
                  <a:latin typeface="Arial" panose="020B0604020202020204" pitchFamily="34" charset="0"/>
                </a:rPr>
                <a:t>Совет</a:t>
              </a: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</a:rPr>
                <a:t> по агломерациям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</a:endParaRPr>
            </a:p>
          </p:txBody>
        </p:sp>
      </p:grpSp>
      <p:sp>
        <p:nvSpPr>
          <p:cNvPr id="106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52813" y="4053147"/>
            <a:ext cx="2533968" cy="753857"/>
          </a:xfrm>
          <a:prstGeom prst="round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accent5"/>
            </a:solidFill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7" name="Прямоугольник 106"/>
          <p:cNvSpPr/>
          <p:nvPr/>
        </p:nvSpPr>
        <p:spPr>
          <a:xfrm>
            <a:off x="3620907" y="4095629"/>
            <a:ext cx="25757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400" dirty="0" err="1" smtClean="0">
                <a:solidFill>
                  <a:srgbClr val="002060"/>
                </a:solidFill>
                <a:latin typeface="Arial" panose="020B0604020202020204" pitchFamily="34" charset="0"/>
              </a:rPr>
              <a:t>А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киматы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и 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маслихаты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 областей, представители НПП «</a:t>
            </a:r>
            <a:r>
              <a:rPr lang="ru-RU" altLang="ru-RU" sz="1400" dirty="0" err="1">
                <a:solidFill>
                  <a:srgbClr val="002060"/>
                </a:solidFill>
                <a:latin typeface="Arial" panose="020B0604020202020204" pitchFamily="34" charset="0"/>
              </a:rPr>
              <a:t>Атамекен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» и 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НПО</a:t>
            </a:r>
            <a:endParaRPr lang="ru-RU" altLang="ru-RU" sz="14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108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52811" y="2777223"/>
            <a:ext cx="2533971" cy="926214"/>
          </a:xfrm>
          <a:prstGeom prst="roundRect">
            <a:avLst/>
          </a:prstGeom>
          <a:pattFill prst="ltDn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 w="1905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09" name="Прямоугольник 108"/>
          <p:cNvSpPr/>
          <p:nvPr/>
        </p:nvSpPr>
        <p:spPr>
          <a:xfrm>
            <a:off x="3582014" y="2825390"/>
            <a:ext cx="26755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А</a:t>
            </a:r>
            <a:r>
              <a:rPr kumimoji="0" lang="ru-RU" alt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киматы</a:t>
            </a:r>
            <a:r>
              <a:rPr kumimoji="0" lang="ru-RU" alt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 и </a:t>
            </a:r>
            <a:r>
              <a:rPr kumimoji="0" lang="ru-RU" alt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маслихаты</a:t>
            </a:r>
            <a:r>
              <a:rPr kumimoji="0" lang="ru-RU" alt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 городов республиканского значения и </a:t>
            </a:r>
            <a:r>
              <a:rPr lang="ru-RU" altLang="ru-RU" sz="1200" dirty="0" smtClean="0">
                <a:solidFill>
                  <a:srgbClr val="002060"/>
                </a:solidFill>
                <a:latin typeface="Arial" panose="020B0604020202020204" pitchFamily="34" charset="0"/>
              </a:rPr>
              <a:t>столицы, представители 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НПП «</a:t>
            </a:r>
            <a:r>
              <a:rPr lang="ru-RU" altLang="ru-RU" sz="1200" dirty="0" err="1">
                <a:solidFill>
                  <a:srgbClr val="002060"/>
                </a:solidFill>
                <a:latin typeface="Arial" panose="020B0604020202020204" pitchFamily="34" charset="0"/>
              </a:rPr>
              <a:t>Атамекен</a:t>
            </a: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</a:rPr>
              <a:t>» и НПО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sp>
        <p:nvSpPr>
          <p:cNvPr id="117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5719" y="3586104"/>
            <a:ext cx="2613915" cy="700222"/>
          </a:xfrm>
          <a:prstGeom prst="roundRect">
            <a:avLst/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 w="19050" cap="flat" cmpd="sng" algn="ctr">
            <a:solidFill>
              <a:srgbClr val="1D4999"/>
            </a:solidFill>
            <a:prstDash val="sysDash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4" name="Прямоугольник 123"/>
          <p:cNvSpPr/>
          <p:nvPr/>
        </p:nvSpPr>
        <p:spPr>
          <a:xfrm>
            <a:off x="143549" y="3650785"/>
            <a:ext cx="24582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901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М</a:t>
            </a:r>
            <a:r>
              <a:rPr kumimoji="0" lang="ru-RU" altLang="ru-R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естный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 совет агломерации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54" name="Прямая со стрелкой 53"/>
          <p:cNvCxnSpPr>
            <a:stCxn id="104" idx="1"/>
            <a:endCxn id="106" idx="3"/>
          </p:cNvCxnSpPr>
          <p:nvPr/>
        </p:nvCxnSpPr>
        <p:spPr>
          <a:xfrm flipH="1">
            <a:off x="6186781" y="4430075"/>
            <a:ext cx="320900" cy="1"/>
          </a:xfrm>
          <a:prstGeom prst="straightConnector1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Соединительная линия уступом 129"/>
          <p:cNvCxnSpPr>
            <a:stCxn id="109" idx="1"/>
            <a:endCxn id="117" idx="3"/>
          </p:cNvCxnSpPr>
          <p:nvPr/>
        </p:nvCxnSpPr>
        <p:spPr>
          <a:xfrm rot="10800000" flipV="1">
            <a:off x="2679634" y="3240889"/>
            <a:ext cx="902380" cy="695326"/>
          </a:xfrm>
          <a:prstGeom prst="bentConnector3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Соединительная линия уступом 132"/>
          <p:cNvCxnSpPr/>
          <p:nvPr/>
        </p:nvCxnSpPr>
        <p:spPr>
          <a:xfrm rot="10800000">
            <a:off x="2650804" y="3936214"/>
            <a:ext cx="973179" cy="493861"/>
          </a:xfrm>
          <a:prstGeom prst="bentConnector3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единительная линия 135"/>
          <p:cNvCxnSpPr>
            <a:endCxn id="21" idx="2"/>
          </p:cNvCxnSpPr>
          <p:nvPr/>
        </p:nvCxnSpPr>
        <p:spPr>
          <a:xfrm>
            <a:off x="0" y="2433197"/>
            <a:ext cx="489185" cy="1"/>
          </a:xfrm>
          <a:prstGeom prst="line">
            <a:avLst/>
          </a:prstGeom>
          <a:ln w="15875">
            <a:solidFill>
              <a:srgbClr val="1D499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 стрелкой 140"/>
          <p:cNvCxnSpPr>
            <a:endCxn id="21" idx="4"/>
          </p:cNvCxnSpPr>
          <p:nvPr/>
        </p:nvCxnSpPr>
        <p:spPr>
          <a:xfrm flipV="1">
            <a:off x="1275133" y="3180432"/>
            <a:ext cx="11092" cy="330992"/>
          </a:xfrm>
          <a:prstGeom prst="straightConnector1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652809" y="1042914"/>
            <a:ext cx="4866241" cy="1086514"/>
          </a:xfrm>
          <a:prstGeom prst="roundRect">
            <a:avLst/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 w="19050" cap="flat" cmpd="sng" algn="ctr">
            <a:solidFill>
              <a:srgbClr val="1D4999"/>
            </a:solidFill>
            <a:prstDash val="sysDash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45" name="Прямоугольник 144"/>
          <p:cNvSpPr/>
          <p:nvPr/>
        </p:nvSpPr>
        <p:spPr>
          <a:xfrm>
            <a:off x="3601431" y="1262067"/>
            <a:ext cx="50334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9015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Ц</a:t>
            </a:r>
            <a:r>
              <a:rPr kumimoji="0" lang="ru-RU" altLang="ru-RU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ентральные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 и местные исполнительные органы, депутаты парламента,</a:t>
            </a:r>
            <a:r>
              <a:rPr kumimoji="0" lang="ru-RU" altLang="ru-RU" sz="16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</a:rPr>
              <a:t>НПО</a:t>
            </a:r>
            <a:endParaRPr kumimoji="0" lang="ru-RU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</a:endParaRPr>
          </a:p>
        </p:txBody>
      </p:sp>
      <p:cxnSp>
        <p:nvCxnSpPr>
          <p:cNvPr id="150" name="Соединительная линия уступом 149"/>
          <p:cNvCxnSpPr/>
          <p:nvPr/>
        </p:nvCxnSpPr>
        <p:spPr>
          <a:xfrm rot="10800000" flipV="1">
            <a:off x="2025200" y="1331463"/>
            <a:ext cx="1595707" cy="818993"/>
          </a:xfrm>
          <a:prstGeom prst="bentConnector3">
            <a:avLst/>
          </a:prstGeom>
          <a:ln w="12700">
            <a:solidFill>
              <a:srgbClr val="1D4999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80353" y="4972204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5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8945217" y="4979801"/>
            <a:ext cx="117313" cy="163699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162192" tIns="162192" rIns="162192" bIns="162192" numCol="1" spcCol="1270" rtlCol="0" anchor="ctr" anchorCtr="0">
            <a:noAutofit/>
          </a:bodyPr>
          <a:lstStyle/>
          <a:p>
            <a:pPr marL="180975" indent="-180975" algn="ctr" defTabSz="9144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sz="1400" cap="small" dirty="0" smtClean="0">
              <a:solidFill>
                <a:schemeClr val="bg1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0978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31028" y="85210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cs typeface="+mn-cs"/>
              </a:rPr>
              <a:t>Орган управления на республиканском уровне</a:t>
            </a:r>
          </a:p>
        </p:txBody>
      </p:sp>
      <p:sp>
        <p:nvSpPr>
          <p:cNvPr id="14" name="Прямоугольник 15"/>
          <p:cNvSpPr/>
          <p:nvPr/>
        </p:nvSpPr>
        <p:spPr>
          <a:xfrm>
            <a:off x="735894" y="1658458"/>
            <a:ext cx="8408106" cy="26853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</a:pPr>
            <a:r>
              <a:rPr lang="ru-RU" sz="1400" dirty="0">
                <a:latin typeface="Arial" panose="020B0604020202020204"/>
                <a:cs typeface="Arial Narrow" panose="020B0606020202030204"/>
              </a:rPr>
              <a:t>Осуществляет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ежведомственную координацию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вопросов развития агломераций</a:t>
            </a:r>
          </a:p>
          <a:p>
            <a:pPr>
              <a:spcAft>
                <a:spcPts val="500"/>
              </a:spcAft>
            </a:pPr>
            <a:endParaRPr lang="ru-RU" sz="5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ырабатывает предложения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к проектам НПА в сфере развития агломераций</a:t>
            </a:r>
          </a:p>
          <a:p>
            <a:pPr>
              <a:spcAft>
                <a:spcPts val="500"/>
              </a:spcAft>
            </a:pPr>
            <a:endParaRPr lang="ru-RU" sz="5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>
                <a:latin typeface="Arial" panose="020B0604020202020204"/>
                <a:cs typeface="Arial Narrow" panose="020B0606020202030204"/>
              </a:rPr>
              <a:t>Согласовывает проекты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омплексных планов развития</a:t>
            </a:r>
            <a:r>
              <a:rPr lang="ru-RU" sz="1400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агломераций </a:t>
            </a:r>
          </a:p>
          <a:p>
            <a:pPr>
              <a:spcAft>
                <a:spcPts val="500"/>
              </a:spcAft>
            </a:pPr>
            <a:r>
              <a:rPr lang="ru-RU" sz="1200" i="1" dirty="0">
                <a:latin typeface="Arial" panose="020B0604020202020204"/>
                <a:cs typeface="Arial Narrow" panose="020B0606020202030204"/>
              </a:rPr>
              <a:t>(в рамках Системы государственного планирования)</a:t>
            </a:r>
          </a:p>
          <a:p>
            <a:pPr>
              <a:spcAft>
                <a:spcPts val="500"/>
              </a:spcAft>
            </a:pPr>
            <a:endParaRPr lang="ru-RU" sz="500" i="1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>
                <a:latin typeface="Arial" panose="020B0604020202020204"/>
                <a:cs typeface="Arial Narrow" panose="020B0606020202030204"/>
              </a:rPr>
              <a:t>Формирование </a:t>
            </a:r>
            <a:r>
              <a:rPr lang="ru-RU" sz="1400" dirty="0" smtClean="0">
                <a:latin typeface="Arial" panose="020B0604020202020204"/>
                <a:cs typeface="Arial Narrow" panose="020B0606020202030204"/>
              </a:rPr>
              <a:t>и вопросы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организации его деятельности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устанавливаются п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ложением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 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овете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о агломерациям</a:t>
            </a:r>
          </a:p>
          <a:p>
            <a:pPr>
              <a:spcAft>
                <a:spcPts val="500"/>
              </a:spcAft>
            </a:pPr>
            <a:endParaRPr lang="ru-RU" sz="6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>
                <a:latin typeface="Arial" panose="020B0604020202020204"/>
                <a:cs typeface="Arial Narrow" panose="020B0606020202030204"/>
              </a:rPr>
              <a:t>Будет создан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утем изменения наименования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и функций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действующего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совета по управлению </a:t>
            </a:r>
            <a:r>
              <a:rPr lang="ru-RU" sz="1400" dirty="0" err="1">
                <a:latin typeface="Arial" panose="020B0604020202020204"/>
                <a:cs typeface="Arial Narrow" panose="020B0606020202030204"/>
              </a:rPr>
              <a:t>Алматинской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агломерацией</a:t>
            </a:r>
            <a:r>
              <a:rPr lang="ru-RU" sz="1200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20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050" i="1" dirty="0" smtClean="0">
                <a:latin typeface="Arial" panose="020B0604020202020204"/>
                <a:cs typeface="Arial Narrow" panose="020B0606020202030204"/>
              </a:rPr>
              <a:t>(</a:t>
            </a:r>
            <a:r>
              <a:rPr lang="ru-RU" sz="1050" i="1" dirty="0">
                <a:latin typeface="Arial" panose="020B0604020202020204"/>
                <a:cs typeface="Arial Narrow" panose="020B0606020202030204"/>
              </a:rPr>
              <a:t>распоряжение Премьер-Министра РК от </a:t>
            </a:r>
            <a:r>
              <a:rPr lang="ru-RU" sz="1050" i="1" dirty="0" smtClean="0">
                <a:latin typeface="Arial" panose="020B0604020202020204"/>
                <a:cs typeface="Arial Narrow" panose="020B0606020202030204"/>
              </a:rPr>
              <a:t>10.06.2021г. № </a:t>
            </a:r>
            <a:r>
              <a:rPr lang="ru-RU" sz="1050" i="1" dirty="0">
                <a:latin typeface="Arial" panose="020B0604020202020204"/>
                <a:cs typeface="Arial Narrow" panose="020B0606020202030204"/>
              </a:rPr>
              <a:t>106-р)</a:t>
            </a:r>
            <a:endParaRPr lang="ru-RU" sz="1200" i="1" dirty="0"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15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1122948" y="898511"/>
            <a:ext cx="8525800" cy="50209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Совет по агломерациям </a:t>
            </a:r>
          </a:p>
          <a:p>
            <a:r>
              <a:rPr lang="ru-RU" altLang="ru-RU" sz="1100" b="1" i="1" dirty="0">
                <a:solidFill>
                  <a:srgbClr val="002060"/>
                </a:solidFill>
                <a:latin typeface="Arial" panose="020B0604020202020204" pitchFamily="34" charset="0"/>
              </a:rPr>
              <a:t>(консультативно-совещательный орган при Правительстве РК)</a:t>
            </a:r>
            <a:endParaRPr lang="en-US" sz="1100" i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624601" y="963914"/>
            <a:ext cx="360724" cy="360000"/>
            <a:chOff x="4930800" y="1027691"/>
            <a:chExt cx="360000" cy="360000"/>
          </a:xfrm>
        </p:grpSpPr>
        <p:sp>
          <p:nvSpPr>
            <p:cNvPr id="17" name="Овал 4">
              <a:extLst>
                <a:ext uri="{FF2B5EF4-FFF2-40B4-BE49-F238E27FC236}">
                  <a16:creationId xmlns:a16="http://schemas.microsoft.com/office/drawing/2014/main" xmlns="" id="{FF318A34-2E73-4967-8110-A1F4B38D0172}"/>
                </a:ext>
              </a:extLst>
            </p:cNvPr>
            <p:cNvSpPr/>
            <p:nvPr/>
          </p:nvSpPr>
          <p:spPr>
            <a:xfrm>
              <a:off x="4930800" y="1027691"/>
              <a:ext cx="360000" cy="36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" name="Picture 12" descr="C:\Users\A.Meirembayev\Downloads\team-leader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7277" y="1067534"/>
              <a:ext cx="252000" cy="2551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31028" y="1717008"/>
            <a:ext cx="277616" cy="252000"/>
          </a:xfrm>
          <a:prstGeom prst="rect">
            <a:avLst/>
          </a:prstGeom>
        </p:spPr>
      </p:pic>
      <p:pic>
        <p:nvPicPr>
          <p:cNvPr id="22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32018" y="2133550"/>
            <a:ext cx="277616" cy="252000"/>
          </a:xfrm>
          <a:prstGeom prst="rect">
            <a:avLst/>
          </a:prstGeom>
        </p:spPr>
      </p:pic>
      <p:pic>
        <p:nvPicPr>
          <p:cNvPr id="2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31028" y="2506369"/>
            <a:ext cx="277616" cy="252000"/>
          </a:xfrm>
          <a:prstGeom prst="rect">
            <a:avLst/>
          </a:prstGeom>
        </p:spPr>
      </p:pic>
      <p:pic>
        <p:nvPicPr>
          <p:cNvPr id="2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19525" y="3169730"/>
            <a:ext cx="277616" cy="252000"/>
          </a:xfrm>
          <a:prstGeom prst="rect">
            <a:avLst/>
          </a:prstGeom>
        </p:spPr>
      </p:pic>
      <p:pic>
        <p:nvPicPr>
          <p:cNvPr id="2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431028" y="3833091"/>
            <a:ext cx="277616" cy="252000"/>
          </a:xfrm>
          <a:prstGeom prst="rect">
            <a:avLst/>
          </a:prstGeom>
        </p:spPr>
      </p:pic>
      <p:cxnSp>
        <p:nvCxnSpPr>
          <p:cNvPr id="31" name="Прямая соединительная линия 30"/>
          <p:cNvCxnSpPr/>
          <p:nvPr/>
        </p:nvCxnSpPr>
        <p:spPr>
          <a:xfrm>
            <a:off x="1122948" y="902232"/>
            <a:ext cx="576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1122948" y="1406288"/>
            <a:ext cx="5760000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53634" y="4936335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6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9015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1515" y="93633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Органы управления на местном уровне</a:t>
            </a:r>
          </a:p>
        </p:txBody>
      </p:sp>
      <p:sp>
        <p:nvSpPr>
          <p:cNvPr id="14" name="Прямоугольник 15"/>
          <p:cNvSpPr/>
          <p:nvPr/>
        </p:nvSpPr>
        <p:spPr>
          <a:xfrm>
            <a:off x="342927" y="1767188"/>
            <a:ext cx="8871998" cy="21441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</a:pPr>
            <a:r>
              <a:rPr lang="ru-RU" sz="1400" dirty="0">
                <a:latin typeface="Arial" panose="020B0604020202020204"/>
                <a:cs typeface="Arial Narrow" panose="020B0606020202030204"/>
              </a:rPr>
              <a:t>Вырабатывает предложения по определению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целей, задач и мер поддержки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развития</a:t>
            </a:r>
            <a:r>
              <a:rPr lang="ru-RU" sz="1400" b="1" dirty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агломераций</a:t>
            </a:r>
          </a:p>
          <a:p>
            <a:pPr>
              <a:spcAft>
                <a:spcPts val="500"/>
              </a:spcAft>
            </a:pPr>
            <a:endParaRPr lang="ru-RU" sz="4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>
                <a:latin typeface="Arial" panose="020B0604020202020204"/>
                <a:cs typeface="Arial Narrow" panose="020B0606020202030204"/>
              </a:rPr>
              <a:t>Определяет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екретариат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, который будет разрабатывать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омплексный план 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развития агломерации</a:t>
            </a:r>
          </a:p>
          <a:p>
            <a:pPr>
              <a:spcAft>
                <a:spcPts val="500"/>
              </a:spcAft>
            </a:pPr>
            <a:endParaRPr lang="ru-RU" sz="4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Решения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 на заседаниях местного совета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инимаются единогласно</a:t>
            </a:r>
          </a:p>
          <a:p>
            <a:pPr>
              <a:spcAft>
                <a:spcPts val="500"/>
              </a:spcAft>
            </a:pPr>
            <a:endParaRPr lang="ru-RU" sz="400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едседатель</a:t>
            </a:r>
            <a:r>
              <a:rPr lang="ru-RU" sz="1400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местного совета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избирается из его состава</a:t>
            </a:r>
          </a:p>
          <a:p>
            <a:pPr>
              <a:spcAft>
                <a:spcPts val="500"/>
              </a:spcAft>
            </a:pPr>
            <a:endParaRPr lang="ru-RU" sz="400" b="1" u="sng" dirty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400" dirty="0">
                <a:latin typeface="Arial" panose="020B0604020202020204"/>
                <a:cs typeface="Arial Narrow" panose="020B0606020202030204"/>
              </a:rPr>
              <a:t>Численность членов, порядок формирования, отбор кандидатур в состав местного совета </a:t>
            </a:r>
            <a:r>
              <a:rPr lang="ru-RU" sz="1400" dirty="0" smtClean="0">
                <a:latin typeface="Arial" panose="020B0604020202020204"/>
                <a:cs typeface="Arial Narrow" panose="020B0606020202030204"/>
              </a:rPr>
              <a:t>определяется         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оглашением о совместном решении вопросов</a:t>
            </a:r>
            <a:r>
              <a:rPr lang="ru-RU" sz="1400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400" dirty="0">
                <a:latin typeface="Arial" panose="020B0604020202020204"/>
                <a:cs typeface="Arial Narrow" panose="020B0606020202030204"/>
              </a:rPr>
              <a:t>местного значения на территории агломерации</a:t>
            </a:r>
          </a:p>
        </p:txBody>
      </p:sp>
      <p:sp>
        <p:nvSpPr>
          <p:cNvPr id="15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1186559" y="861187"/>
            <a:ext cx="5261949" cy="50209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Местный совет агломерации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688212" y="926590"/>
            <a:ext cx="360724" cy="360000"/>
            <a:chOff x="4930800" y="1027691"/>
            <a:chExt cx="360000" cy="360000"/>
          </a:xfrm>
        </p:grpSpPr>
        <p:sp>
          <p:nvSpPr>
            <p:cNvPr id="17" name="Овал 4">
              <a:extLst>
                <a:ext uri="{FF2B5EF4-FFF2-40B4-BE49-F238E27FC236}">
                  <a16:creationId xmlns:a16="http://schemas.microsoft.com/office/drawing/2014/main" xmlns="" id="{FF318A34-2E73-4967-8110-A1F4B38D0172}"/>
                </a:ext>
              </a:extLst>
            </p:cNvPr>
            <p:cNvSpPr/>
            <p:nvPr/>
          </p:nvSpPr>
          <p:spPr>
            <a:xfrm>
              <a:off x="4930800" y="1027691"/>
              <a:ext cx="360000" cy="360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0" name="Picture 12" descr="C:\Users\A.Meirembayev\Downloads\team-leader.png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87277" y="1067534"/>
              <a:ext cx="252000" cy="2551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5311" y="1787834"/>
            <a:ext cx="277616" cy="252000"/>
          </a:xfrm>
          <a:prstGeom prst="rect">
            <a:avLst/>
          </a:prstGeom>
        </p:spPr>
      </p:pic>
      <p:pic>
        <p:nvPicPr>
          <p:cNvPr id="22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5311" y="2214865"/>
            <a:ext cx="277616" cy="252000"/>
          </a:xfrm>
          <a:prstGeom prst="rect">
            <a:avLst/>
          </a:prstGeom>
        </p:spPr>
      </p:pic>
      <p:pic>
        <p:nvPicPr>
          <p:cNvPr id="2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65311" y="2587276"/>
            <a:ext cx="277616" cy="252000"/>
          </a:xfrm>
          <a:prstGeom prst="rect">
            <a:avLst/>
          </a:prstGeom>
        </p:spPr>
      </p:pic>
      <p:pic>
        <p:nvPicPr>
          <p:cNvPr id="2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3899" y="2999856"/>
            <a:ext cx="277616" cy="252000"/>
          </a:xfrm>
          <a:prstGeom prst="rect">
            <a:avLst/>
          </a:prstGeom>
        </p:spPr>
      </p:pic>
      <p:pic>
        <p:nvPicPr>
          <p:cNvPr id="2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3899" y="3426887"/>
            <a:ext cx="277616" cy="252000"/>
          </a:xfrm>
          <a:prstGeom prst="rect">
            <a:avLst/>
          </a:prstGeom>
        </p:spPr>
      </p:pic>
      <p:cxnSp>
        <p:nvCxnSpPr>
          <p:cNvPr id="31" name="Прямая соединительная линия 30"/>
          <p:cNvCxnSpPr/>
          <p:nvPr/>
        </p:nvCxnSpPr>
        <p:spPr>
          <a:xfrm flipV="1">
            <a:off x="1186559" y="861187"/>
            <a:ext cx="3989741" cy="372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1186559" y="1363286"/>
            <a:ext cx="3989741" cy="5678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7894" y="4975103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7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18" name="Rounded Rectangle 2"/>
          <p:cNvSpPr/>
          <p:nvPr/>
        </p:nvSpPr>
        <p:spPr>
          <a:xfrm>
            <a:off x="702380" y="4043865"/>
            <a:ext cx="7597230" cy="975028"/>
          </a:xfrm>
          <a:prstGeom prst="roundRect">
            <a:avLst>
              <a:gd name="adj" fmla="val 3968"/>
            </a:avLst>
          </a:prstGeom>
          <a:noFill/>
          <a:ln w="6350"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619261" y="3939723"/>
            <a:ext cx="333525" cy="358915"/>
            <a:chOff x="-793414" y="835630"/>
            <a:chExt cx="240347" cy="294024"/>
          </a:xfrm>
        </p:grpSpPr>
        <p:sp>
          <p:nvSpPr>
            <p:cNvPr id="27" name="Rounded Rectangle 2"/>
            <p:cNvSpPr/>
            <p:nvPr/>
          </p:nvSpPr>
          <p:spPr>
            <a:xfrm>
              <a:off x="-793414" y="835630"/>
              <a:ext cx="240347" cy="294024"/>
            </a:xfrm>
            <a:prstGeom prst="roundRect">
              <a:avLst>
                <a:gd name="adj" fmla="val 3968"/>
              </a:avLst>
            </a:prstGeom>
            <a:solidFill>
              <a:schemeClr val="bg1"/>
            </a:solidFill>
            <a:ln w="3175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ko-KR" altLang="en-US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bject 2"/>
            <p:cNvSpPr/>
            <p:nvPr/>
          </p:nvSpPr>
          <p:spPr>
            <a:xfrm>
              <a:off x="-717786" y="944174"/>
              <a:ext cx="89091" cy="91175"/>
            </a:xfrm>
            <a:custGeom>
              <a:avLst/>
              <a:gdLst/>
              <a:ahLst/>
              <a:cxnLst/>
              <a:rect l="l" t="t" r="r" b="b"/>
              <a:pathLst>
                <a:path w="758825" h="776604">
                  <a:moveTo>
                    <a:pt x="379349" y="0"/>
                  </a:moveTo>
                  <a:lnTo>
                    <a:pt x="331756" y="3023"/>
                  </a:lnTo>
                  <a:lnTo>
                    <a:pt x="285929" y="11851"/>
                  </a:lnTo>
                  <a:lnTo>
                    <a:pt x="242224" y="26119"/>
                  </a:lnTo>
                  <a:lnTo>
                    <a:pt x="200996" y="45464"/>
                  </a:lnTo>
                  <a:lnTo>
                    <a:pt x="162600" y="69521"/>
                  </a:lnTo>
                  <a:lnTo>
                    <a:pt x="127391" y="97928"/>
                  </a:lnTo>
                  <a:lnTo>
                    <a:pt x="95724" y="130320"/>
                  </a:lnTo>
                  <a:lnTo>
                    <a:pt x="67955" y="166333"/>
                  </a:lnTo>
                  <a:lnTo>
                    <a:pt x="44438" y="205604"/>
                  </a:lnTo>
                  <a:lnTo>
                    <a:pt x="25529" y="247768"/>
                  </a:lnTo>
                  <a:lnTo>
                    <a:pt x="11583" y="292462"/>
                  </a:lnTo>
                  <a:lnTo>
                    <a:pt x="2954" y="339322"/>
                  </a:lnTo>
                  <a:lnTo>
                    <a:pt x="0" y="387984"/>
                  </a:lnTo>
                  <a:lnTo>
                    <a:pt x="2954" y="436674"/>
                  </a:lnTo>
                  <a:lnTo>
                    <a:pt x="11583" y="483557"/>
                  </a:lnTo>
                  <a:lnTo>
                    <a:pt x="25529" y="528270"/>
                  </a:lnTo>
                  <a:lnTo>
                    <a:pt x="44438" y="570450"/>
                  </a:lnTo>
                  <a:lnTo>
                    <a:pt x="67955" y="609733"/>
                  </a:lnTo>
                  <a:lnTo>
                    <a:pt x="95724" y="645756"/>
                  </a:lnTo>
                  <a:lnTo>
                    <a:pt x="127391" y="678155"/>
                  </a:lnTo>
                  <a:lnTo>
                    <a:pt x="162600" y="706567"/>
                  </a:lnTo>
                  <a:lnTo>
                    <a:pt x="200996" y="730629"/>
                  </a:lnTo>
                  <a:lnTo>
                    <a:pt x="242224" y="749976"/>
                  </a:lnTo>
                  <a:lnTo>
                    <a:pt x="285929" y="764245"/>
                  </a:lnTo>
                  <a:lnTo>
                    <a:pt x="331756" y="773073"/>
                  </a:lnTo>
                  <a:lnTo>
                    <a:pt x="379349" y="776096"/>
                  </a:lnTo>
                  <a:lnTo>
                    <a:pt x="426941" y="773073"/>
                  </a:lnTo>
                  <a:lnTo>
                    <a:pt x="472768" y="764245"/>
                  </a:lnTo>
                  <a:lnTo>
                    <a:pt x="516473" y="749976"/>
                  </a:lnTo>
                  <a:lnTo>
                    <a:pt x="557701" y="730629"/>
                  </a:lnTo>
                  <a:lnTo>
                    <a:pt x="596097" y="706567"/>
                  </a:lnTo>
                  <a:lnTo>
                    <a:pt x="631306" y="678155"/>
                  </a:lnTo>
                  <a:lnTo>
                    <a:pt x="662973" y="645756"/>
                  </a:lnTo>
                  <a:lnTo>
                    <a:pt x="690742" y="609733"/>
                  </a:lnTo>
                  <a:lnTo>
                    <a:pt x="714259" y="570450"/>
                  </a:lnTo>
                  <a:lnTo>
                    <a:pt x="733168" y="528270"/>
                  </a:lnTo>
                  <a:lnTo>
                    <a:pt x="747114" y="483557"/>
                  </a:lnTo>
                  <a:lnTo>
                    <a:pt x="755743" y="436674"/>
                  </a:lnTo>
                  <a:lnTo>
                    <a:pt x="758698" y="387984"/>
                  </a:lnTo>
                  <a:lnTo>
                    <a:pt x="755743" y="339322"/>
                  </a:lnTo>
                  <a:lnTo>
                    <a:pt x="747114" y="292462"/>
                  </a:lnTo>
                  <a:lnTo>
                    <a:pt x="733168" y="247768"/>
                  </a:lnTo>
                  <a:lnTo>
                    <a:pt x="714259" y="205604"/>
                  </a:lnTo>
                  <a:lnTo>
                    <a:pt x="690742" y="166333"/>
                  </a:lnTo>
                  <a:lnTo>
                    <a:pt x="662973" y="130320"/>
                  </a:lnTo>
                  <a:lnTo>
                    <a:pt x="631306" y="97928"/>
                  </a:lnTo>
                  <a:lnTo>
                    <a:pt x="596097" y="69521"/>
                  </a:lnTo>
                  <a:lnTo>
                    <a:pt x="557701" y="45464"/>
                  </a:lnTo>
                  <a:lnTo>
                    <a:pt x="516473" y="26119"/>
                  </a:lnTo>
                  <a:lnTo>
                    <a:pt x="472768" y="11851"/>
                  </a:lnTo>
                  <a:lnTo>
                    <a:pt x="426941" y="3023"/>
                  </a:lnTo>
                  <a:lnTo>
                    <a:pt x="379349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19050">
              <a:solidFill>
                <a:schemeClr val="bg1"/>
              </a:solidFill>
            </a:ln>
            <a:effectLst>
              <a:outerShdw blurRad="203200" dir="240000" sx="110000" sy="110000" algn="ctr" rotWithShape="0">
                <a:srgbClr val="0070C0">
                  <a:alpha val="49000"/>
                </a:srgbClr>
              </a:outerShdw>
            </a:effectLst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893520" y="4080174"/>
            <a:ext cx="726370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dirty="0">
                <a:latin typeface="Arial" panose="020B0604020202020204" pitchFamily="34" charset="0"/>
              </a:rPr>
              <a:t>В состав местного совета агломерации входят </a:t>
            </a:r>
            <a:r>
              <a:rPr lang="ru-RU" sz="1100" dirty="0" smtClean="0">
                <a:latin typeface="Arial" panose="020B0604020202020204" pitchFamily="34" charset="0"/>
              </a:rPr>
              <a:t>МИО и </a:t>
            </a:r>
            <a:r>
              <a:rPr lang="ru-RU" sz="1100" dirty="0" err="1" smtClean="0">
                <a:latin typeface="Arial" panose="020B0604020202020204" pitchFamily="34" charset="0"/>
              </a:rPr>
              <a:t>маслихаты</a:t>
            </a:r>
            <a:r>
              <a:rPr lang="ru-RU" sz="1100" dirty="0" smtClean="0">
                <a:latin typeface="Arial" panose="020B0604020202020204" pitchFamily="34" charset="0"/>
              </a:rPr>
              <a:t> </a:t>
            </a:r>
            <a:r>
              <a:rPr lang="ru-RU" sz="1100" dirty="0">
                <a:latin typeface="Arial" panose="020B0604020202020204" pitchFamily="34" charset="0"/>
              </a:rPr>
              <a:t>столицы или города республиканского значения, области, населенные пункты которого входят в агломерацию, города областного значения (центра агломерации) с численностью населения свыше пятисот тысяч человек, районов, населенные пункты которого входят в агломерацию, представители </a:t>
            </a:r>
            <a:r>
              <a:rPr lang="ru-RU" sz="1100" dirty="0" smtClean="0">
                <a:latin typeface="Arial" panose="020B0604020202020204" pitchFamily="34" charset="0"/>
              </a:rPr>
              <a:t>НПП «</a:t>
            </a:r>
            <a:r>
              <a:rPr lang="ru-RU" sz="1100" dirty="0" err="1" smtClean="0">
                <a:latin typeface="Arial" panose="020B0604020202020204" pitchFamily="34" charset="0"/>
              </a:rPr>
              <a:t>Атамекен</a:t>
            </a:r>
            <a:r>
              <a:rPr lang="ru-RU" sz="1100" dirty="0" smtClean="0">
                <a:latin typeface="Arial" panose="020B0604020202020204" pitchFamily="34" charset="0"/>
              </a:rPr>
              <a:t>» </a:t>
            </a:r>
            <a:r>
              <a:rPr lang="ru-RU" sz="1100" dirty="0">
                <a:latin typeface="Arial" panose="020B0604020202020204" pitchFamily="34" charset="0"/>
              </a:rPr>
              <a:t>и неправительственных организаций</a:t>
            </a:r>
          </a:p>
        </p:txBody>
      </p:sp>
    </p:spTree>
    <p:extLst>
      <p:ext uri="{BB962C8B-B14F-4D97-AF65-F5344CB8AC3E}">
        <p14:creationId xmlns:p14="http://schemas.microsoft.com/office/powerpoint/2010/main" val="2003205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51515" y="93633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Комплексный план развития агломерации</a:t>
            </a:r>
          </a:p>
        </p:txBody>
      </p:sp>
      <p:sp>
        <p:nvSpPr>
          <p:cNvPr id="14" name="Прямоугольник 15"/>
          <p:cNvSpPr/>
          <p:nvPr/>
        </p:nvSpPr>
        <p:spPr>
          <a:xfrm>
            <a:off x="351515" y="1253174"/>
            <a:ext cx="8697069" cy="2680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500"/>
              </a:spcAft>
            </a:pP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ценка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текущего состояния социально-экономического развития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населенных пунктов, входящих в состав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агломерации</a:t>
            </a:r>
          </a:p>
          <a:p>
            <a:pPr>
              <a:spcAft>
                <a:spcPts val="500"/>
              </a:spcAft>
            </a:pPr>
            <a:endParaRPr lang="ru-RU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облемы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городского и пространственного планирования, развития коммунальной, транспортной и социальной инфраструктуры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агломерации</a:t>
            </a:r>
          </a:p>
          <a:p>
            <a:pPr>
              <a:spcAft>
                <a:spcPts val="500"/>
              </a:spcAft>
            </a:pPr>
            <a:endParaRPr lang="ru-RU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Цели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и задачи развития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ломерации</a:t>
            </a:r>
          </a:p>
          <a:p>
            <a:pPr>
              <a:spcAft>
                <a:spcPts val="500"/>
              </a:spcAft>
            </a:pPr>
            <a:endParaRPr lang="ru-RU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сновные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оказатели (индикаторы),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характеризующие цели и задачи развития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агломерации</a:t>
            </a:r>
          </a:p>
          <a:p>
            <a:pPr>
              <a:spcAft>
                <a:spcPts val="500"/>
              </a:spcAft>
            </a:pPr>
            <a:endParaRPr lang="ru-RU" sz="100" b="1" u="sng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Комплекс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ероприятий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сгруппированных по задачам развития агломерации, с указанием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источников и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бъема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финансирования</a:t>
            </a:r>
            <a:r>
              <a:rPr lang="ru-RU" sz="1350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,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роков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реализации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мероприятий и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тветственных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исполнителей</a:t>
            </a:r>
          </a:p>
          <a:p>
            <a:pPr>
              <a:spcAft>
                <a:spcPts val="500"/>
              </a:spcAft>
            </a:pPr>
            <a:endParaRPr lang="ru-RU" sz="100" dirty="0" smtClean="0">
              <a:latin typeface="Arial" panose="020B0604020202020204"/>
              <a:cs typeface="Arial Narrow" panose="020B0606020202030204"/>
            </a:endParaRPr>
          </a:p>
          <a:p>
            <a:pPr>
              <a:spcAft>
                <a:spcPts val="500"/>
              </a:spcAft>
            </a:pP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Оценка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социально-экономической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эффективности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Комплексного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плана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</p:txBody>
      </p:sp>
      <p:sp>
        <p:nvSpPr>
          <p:cNvPr id="15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1122948" y="699731"/>
            <a:ext cx="5261949" cy="502099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6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Состав Комплексного плана:</a:t>
            </a:r>
            <a:endParaRPr lang="ru-RU" altLang="ru-RU" sz="1600" b="1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17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624601" y="765134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1301899"/>
            <a:ext cx="277616" cy="252000"/>
          </a:xfrm>
          <a:prstGeom prst="rect">
            <a:avLst/>
          </a:prstGeom>
        </p:spPr>
      </p:pic>
      <p:pic>
        <p:nvPicPr>
          <p:cNvPr id="22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1837465"/>
            <a:ext cx="277616" cy="252000"/>
          </a:xfrm>
          <a:prstGeom prst="rect">
            <a:avLst/>
          </a:prstGeom>
        </p:spPr>
      </p:pic>
      <p:pic>
        <p:nvPicPr>
          <p:cNvPr id="2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737761"/>
            <a:ext cx="277616" cy="252000"/>
          </a:xfrm>
          <a:prstGeom prst="rect">
            <a:avLst/>
          </a:prstGeom>
        </p:spPr>
      </p:pic>
      <p:pic>
        <p:nvPicPr>
          <p:cNvPr id="2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3107354"/>
            <a:ext cx="277616" cy="252000"/>
          </a:xfrm>
          <a:prstGeom prst="rect">
            <a:avLst/>
          </a:prstGeom>
        </p:spPr>
      </p:pic>
      <p:pic>
        <p:nvPicPr>
          <p:cNvPr id="2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3626800"/>
            <a:ext cx="277616" cy="252000"/>
          </a:xfrm>
          <a:prstGeom prst="rect">
            <a:avLst/>
          </a:prstGeom>
        </p:spPr>
      </p:pic>
      <p:cxnSp>
        <p:nvCxnSpPr>
          <p:cNvPr id="31" name="Прямая соединительная линия 30"/>
          <p:cNvCxnSpPr/>
          <p:nvPr/>
        </p:nvCxnSpPr>
        <p:spPr>
          <a:xfrm flipV="1">
            <a:off x="1122948" y="699731"/>
            <a:ext cx="3989741" cy="372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1122948" y="1201830"/>
            <a:ext cx="3989741" cy="5678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37894" y="4972487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8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49537" y="4315673"/>
            <a:ext cx="841894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</a:rPr>
              <a:t>Комплексный план 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разрабатывается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секретариатом </a:t>
            </a:r>
            <a:r>
              <a:rPr lang="ru-RU" sz="1400" dirty="0">
                <a:latin typeface="Arial" panose="020B0604020202020204" pitchFamily="34" charset="0"/>
              </a:rPr>
              <a:t>местного совета агломерации на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пятилетний </a:t>
            </a:r>
            <a:r>
              <a:rPr lang="ru-RU" sz="1400" dirty="0">
                <a:latin typeface="Arial" panose="020B0604020202020204" pitchFamily="34" charset="0"/>
              </a:rPr>
              <a:t>период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</a:rPr>
              <a:t>и 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утверждается Правительством 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РК </a:t>
            </a:r>
            <a:r>
              <a:rPr lang="ru-RU" sz="1400" dirty="0" smtClean="0">
                <a:latin typeface="Arial" panose="020B0604020202020204" pitchFamily="34" charset="0"/>
              </a:rPr>
              <a:t>по </a:t>
            </a:r>
            <a:r>
              <a:rPr lang="ru-RU" sz="1400" dirty="0">
                <a:latin typeface="Arial" panose="020B0604020202020204" pitchFamily="34" charset="0"/>
              </a:rPr>
              <a:t>согласованию с Администрацией Президента </a:t>
            </a:r>
            <a:r>
              <a:rPr lang="ru-RU" sz="1400" dirty="0" smtClean="0">
                <a:latin typeface="Arial" panose="020B0604020202020204" pitchFamily="34" charset="0"/>
              </a:rPr>
              <a:t>РК</a:t>
            </a:r>
            <a:endParaRPr lang="ru-RU" sz="1400" dirty="0">
              <a:latin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>
            <a:off x="298010" y="4147091"/>
            <a:ext cx="8521998" cy="4220"/>
          </a:xfrm>
          <a:prstGeom prst="line">
            <a:avLst/>
          </a:prstGeom>
          <a:ln w="127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372643"/>
            <a:ext cx="277616" cy="252000"/>
          </a:xfrm>
          <a:prstGeom prst="rect">
            <a:avLst/>
          </a:prstGeom>
        </p:spPr>
      </p:pic>
      <p:sp>
        <p:nvSpPr>
          <p:cNvPr id="34" name="Shape 2530"/>
          <p:cNvSpPr/>
          <p:nvPr/>
        </p:nvSpPr>
        <p:spPr>
          <a:xfrm>
            <a:off x="728291" y="843080"/>
            <a:ext cx="171450" cy="2095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400" y="19636"/>
                </a:moveTo>
                <a:cubicBezTo>
                  <a:pt x="20400" y="20178"/>
                  <a:pt x="19862" y="20617"/>
                  <a:pt x="19200" y="20617"/>
                </a:cubicBezTo>
                <a:lnTo>
                  <a:pt x="6000" y="20617"/>
                </a:lnTo>
                <a:lnTo>
                  <a:pt x="6000" y="982"/>
                </a:lnTo>
                <a:lnTo>
                  <a:pt x="13200" y="982"/>
                </a:lnTo>
                <a:lnTo>
                  <a:pt x="13200" y="6872"/>
                </a:lnTo>
                <a:lnTo>
                  <a:pt x="15600" y="4909"/>
                </a:lnTo>
                <a:lnTo>
                  <a:pt x="18000" y="6872"/>
                </a:lnTo>
                <a:lnTo>
                  <a:pt x="18000" y="982"/>
                </a:lnTo>
                <a:lnTo>
                  <a:pt x="19200" y="982"/>
                </a:lnTo>
                <a:cubicBezTo>
                  <a:pt x="19862" y="982"/>
                  <a:pt x="20400" y="1422"/>
                  <a:pt x="20400" y="1964"/>
                </a:cubicBezTo>
                <a:cubicBezTo>
                  <a:pt x="20400" y="1964"/>
                  <a:pt x="20400" y="19636"/>
                  <a:pt x="20400" y="19636"/>
                </a:cubicBezTo>
                <a:close/>
                <a:moveTo>
                  <a:pt x="4800" y="20617"/>
                </a:moveTo>
                <a:lnTo>
                  <a:pt x="2400" y="20617"/>
                </a:lnTo>
                <a:cubicBezTo>
                  <a:pt x="1738" y="20617"/>
                  <a:pt x="1200" y="20178"/>
                  <a:pt x="1200" y="19636"/>
                </a:cubicBezTo>
                <a:lnTo>
                  <a:pt x="1200" y="1964"/>
                </a:lnTo>
                <a:cubicBezTo>
                  <a:pt x="1200" y="1422"/>
                  <a:pt x="1738" y="982"/>
                  <a:pt x="2400" y="982"/>
                </a:cubicBezTo>
                <a:lnTo>
                  <a:pt x="4800" y="982"/>
                </a:lnTo>
                <a:cubicBezTo>
                  <a:pt x="4800" y="982"/>
                  <a:pt x="4800" y="20617"/>
                  <a:pt x="4800" y="20617"/>
                </a:cubicBezTo>
                <a:close/>
                <a:moveTo>
                  <a:pt x="14400" y="982"/>
                </a:moveTo>
                <a:lnTo>
                  <a:pt x="16800" y="982"/>
                </a:lnTo>
                <a:lnTo>
                  <a:pt x="16800" y="4418"/>
                </a:lnTo>
                <a:lnTo>
                  <a:pt x="15600" y="3436"/>
                </a:lnTo>
                <a:lnTo>
                  <a:pt x="14400" y="4418"/>
                </a:lnTo>
                <a:cubicBezTo>
                  <a:pt x="14400" y="4418"/>
                  <a:pt x="14400" y="982"/>
                  <a:pt x="14400" y="982"/>
                </a:cubicBezTo>
                <a:close/>
                <a:moveTo>
                  <a:pt x="19200" y="0"/>
                </a:moveTo>
                <a:lnTo>
                  <a:pt x="2400" y="0"/>
                </a:lnTo>
                <a:cubicBezTo>
                  <a:pt x="1075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0"/>
                  <a:pt x="1075" y="21600"/>
                  <a:pt x="2400" y="21600"/>
                </a:cubicBezTo>
                <a:lnTo>
                  <a:pt x="19200" y="21600"/>
                </a:lnTo>
                <a:cubicBezTo>
                  <a:pt x="20525" y="21600"/>
                  <a:pt x="21600" y="20720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20525" y="0"/>
                  <a:pt x="19200" y="0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684105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286">
            <a:extLst>
              <a:ext uri="{FF2B5EF4-FFF2-40B4-BE49-F238E27FC236}">
                <a16:creationId xmlns:a16="http://schemas.microsoft.com/office/drawing/2014/main" xmlns="" id="{51EA155A-75D9-452F-BC2F-E992EA65B96D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83487" y="694739"/>
            <a:ext cx="8215426" cy="554294"/>
          </a:xfrm>
          <a:prstGeom prst="roundRect">
            <a:avLst/>
          </a:prstGeom>
          <a:pattFill prst="ltDnDiag">
            <a:fgClr>
              <a:schemeClr val="accent1">
                <a:lumMod val="40000"/>
                <a:lumOff val="60000"/>
              </a:schemeClr>
            </a:fgClr>
            <a:bgClr>
              <a:schemeClr val="bg1"/>
            </a:bgClr>
          </a:pattFill>
          <a:ln w="19050" cap="flat" cmpd="sng" algn="ctr">
            <a:solidFill>
              <a:srgbClr val="1D4999"/>
            </a:solidFill>
            <a:prstDash val="sysDash"/>
          </a:ln>
          <a:effectLst/>
        </p:spPr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507995" marR="0" lvl="1" indent="0" algn="l" defTabSz="101599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6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89F4F325-4986-4BD8-BBFF-BE2980815AB8}"/>
              </a:ext>
            </a:extLst>
          </p:cNvPr>
          <p:cNvSpPr/>
          <p:nvPr/>
        </p:nvSpPr>
        <p:spPr>
          <a:xfrm>
            <a:off x="588970" y="1"/>
            <a:ext cx="8555037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7" tIns="45694" rIns="91387" bIns="45694" anchor="ctr"/>
          <a:lstStyle/>
          <a:p>
            <a:pPr defTabSz="684530" fontAlgn="auto">
              <a:spcBef>
                <a:spcPts val="0"/>
              </a:spcBef>
              <a:spcAft>
                <a:spcPts val="0"/>
              </a:spcAft>
              <a:buClr>
                <a:srgbClr val="0070CE"/>
              </a:buClr>
              <a:buSzPct val="100000"/>
              <a:defRPr/>
            </a:pPr>
            <a:endParaRPr 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9537" y="66577"/>
            <a:ext cx="83318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Компетенции, передаваемые МИО </a:t>
            </a:r>
            <a:r>
              <a:rPr lang="ru-RU" altLang="ru-RU" b="1" cap="small" dirty="0" smtClean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в </a:t>
            </a:r>
            <a:r>
              <a:rPr lang="ru-RU" altLang="ru-RU" b="1" cap="small" dirty="0">
                <a:solidFill>
                  <a:srgbClr val="002060"/>
                </a:solidFill>
                <a:latin typeface="Arial" panose="020B0604020202020204" pitchFamily="34" charset="0"/>
                <a:ea typeface="Tahoma" panose="020B0604030504040204" pitchFamily="34" charset="0"/>
                <a:sym typeface="Tahoma"/>
              </a:rPr>
              <a:t>рамках основного законопроекта</a:t>
            </a:r>
            <a:endParaRPr lang="ru-RU" altLang="ru-RU" b="1" cap="small" dirty="0">
              <a:solidFill>
                <a:srgbClr val="00206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14" name="Прямоугольник 15"/>
          <p:cNvSpPr/>
          <p:nvPr/>
        </p:nvSpPr>
        <p:spPr>
          <a:xfrm>
            <a:off x="432645" y="2063917"/>
            <a:ext cx="8697069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Участвуют</a:t>
            </a:r>
            <a:r>
              <a:rPr lang="ru-RU" sz="1350" b="1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 совместном решении вопросов местного значения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населенных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пунктов, входящих в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состав агломерации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Участвую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 подготовке и подписании соглашения</a:t>
            </a:r>
            <a:r>
              <a:rPr lang="ru-RU" sz="1350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о совместном решении вопросов местного значения на территории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агломерации между городом-центром и пригородной зоной</a:t>
            </a:r>
            <a:endParaRPr lang="ru-RU" sz="135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Участвую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 создании и деятельности местного совета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гломерации</a:t>
            </a:r>
          </a:p>
          <a:p>
            <a:pPr algn="just" defTabSz="515653"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О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казываю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содействие 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ИО районов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, населенные пункты которых входят в агломерацию, в решении вопросов развития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агломерации</a:t>
            </a:r>
          </a:p>
          <a:p>
            <a:pPr algn="just" defTabSz="515653"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ринимаю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меры по повышению конкурентных возможностей агломерации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среди других агломераций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мира</a:t>
            </a:r>
          </a:p>
          <a:p>
            <a:pPr algn="just" defTabSz="515653">
              <a:defRPr/>
            </a:pPr>
            <a:endParaRPr lang="ru-RU" sz="1200" dirty="0">
              <a:latin typeface="Arial" panose="020B0604020202020204"/>
              <a:cs typeface="Arial Narrow" panose="020B0606020202030204"/>
            </a:endParaRPr>
          </a:p>
          <a:p>
            <a:pPr algn="just" defTabSz="515653">
              <a:defRPr/>
            </a:pP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Н</a:t>
            </a:r>
            <a:r>
              <a:rPr lang="ru-RU" sz="135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аправляют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редложения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для включения </a:t>
            </a:r>
            <a:r>
              <a:rPr lang="ru-RU" sz="135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в комплексный план 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развития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агломерации</a:t>
            </a:r>
          </a:p>
        </p:txBody>
      </p:sp>
      <p:sp>
        <p:nvSpPr>
          <p:cNvPr id="15" name="Arrow: Pentagon 28">
            <a:extLst>
              <a:ext uri="{FF2B5EF4-FFF2-40B4-BE49-F238E27FC236}">
                <a16:creationId xmlns:a16="http://schemas.microsoft.com/office/drawing/2014/main" xmlns="" id="{8081553A-07C3-4976-AE82-33D532411A5E}"/>
              </a:ext>
            </a:extLst>
          </p:cNvPr>
          <p:cNvSpPr/>
          <p:nvPr/>
        </p:nvSpPr>
        <p:spPr bwMode="auto">
          <a:xfrm>
            <a:off x="446931" y="1360866"/>
            <a:ext cx="8887743" cy="703051"/>
          </a:xfrm>
          <a:prstGeom prst="homePlate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r>
              <a:rPr lang="ru-RU" altLang="ru-RU" sz="1400" b="1" dirty="0" smtClean="0">
                <a:solidFill>
                  <a:srgbClr val="002060"/>
                </a:solidFill>
                <a:latin typeface="Arial" panose="020B0604020202020204" pitchFamily="34" charset="0"/>
              </a:rPr>
              <a:t>МИО столицы</a:t>
            </a:r>
            <a:r>
              <a:rPr lang="ru-RU" altLang="ru-RU" sz="1400" b="1" dirty="0">
                <a:solidFill>
                  <a:srgbClr val="002060"/>
                </a:solidFill>
                <a:latin typeface="Arial" panose="020B0604020202020204" pitchFamily="34" charset="0"/>
              </a:rPr>
              <a:t>, города республиканского значения и области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, 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населенные </a:t>
            </a: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</a:rPr>
              <a:t>пункты которой входят в 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агломерацию:</a:t>
            </a:r>
            <a:endParaRPr lang="ru-RU" altLang="ru-RU" sz="14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sp>
        <p:nvSpPr>
          <p:cNvPr id="17" name="Овал 4">
            <a:extLst>
              <a:ext uri="{FF2B5EF4-FFF2-40B4-BE49-F238E27FC236}">
                <a16:creationId xmlns:a16="http://schemas.microsoft.com/office/drawing/2014/main" xmlns="" id="{FF318A34-2E73-4967-8110-A1F4B38D0172}"/>
              </a:ext>
            </a:extLst>
          </p:cNvPr>
          <p:cNvSpPr/>
          <p:nvPr/>
        </p:nvSpPr>
        <p:spPr>
          <a:xfrm>
            <a:off x="71921" y="1530693"/>
            <a:ext cx="360724" cy="360000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081923"/>
            <a:ext cx="277616" cy="252000"/>
          </a:xfrm>
          <a:prstGeom prst="rect">
            <a:avLst/>
          </a:prstGeom>
        </p:spPr>
      </p:pic>
      <p:pic>
        <p:nvPicPr>
          <p:cNvPr id="22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2632854"/>
            <a:ext cx="277616" cy="252000"/>
          </a:xfrm>
          <a:prstGeom prst="rect">
            <a:avLst/>
          </a:prstGeom>
        </p:spPr>
      </p:pic>
      <p:pic>
        <p:nvPicPr>
          <p:cNvPr id="24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3718651"/>
            <a:ext cx="277616" cy="252000"/>
          </a:xfrm>
          <a:prstGeom prst="rect">
            <a:avLst/>
          </a:prstGeom>
        </p:spPr>
      </p:pic>
      <p:pic>
        <p:nvPicPr>
          <p:cNvPr id="25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4249530"/>
            <a:ext cx="277616" cy="252000"/>
          </a:xfrm>
          <a:prstGeom prst="rect">
            <a:avLst/>
          </a:prstGeom>
        </p:spPr>
      </p:pic>
      <p:pic>
        <p:nvPicPr>
          <p:cNvPr id="26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4813140"/>
            <a:ext cx="277616" cy="252000"/>
          </a:xfrm>
          <a:prstGeom prst="rect">
            <a:avLst/>
          </a:prstGeom>
        </p:spPr>
      </p:pic>
      <p:cxnSp>
        <p:nvCxnSpPr>
          <p:cNvPr id="31" name="Прямая соединительная линия 30"/>
          <p:cNvCxnSpPr/>
          <p:nvPr/>
        </p:nvCxnSpPr>
        <p:spPr>
          <a:xfrm flipV="1">
            <a:off x="518494" y="1337012"/>
            <a:ext cx="4474320" cy="5572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518494" y="2002818"/>
            <a:ext cx="4474320" cy="8501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bject 28">
            <a:extLst>
              <a:ext uri="{FF2B5EF4-FFF2-40B4-BE49-F238E27FC236}">
                <a16:creationId xmlns:a16="http://schemas.microsoft.com/office/drawing/2014/main" xmlns="" id="{90C5D22E-DBF5-40C3-B861-B389FE87EAE3}"/>
              </a:ext>
            </a:extLst>
          </p:cNvPr>
          <p:cNvSpPr txBox="1"/>
          <p:nvPr/>
        </p:nvSpPr>
        <p:spPr>
          <a:xfrm>
            <a:off x="8923608" y="4940046"/>
            <a:ext cx="206106" cy="163699"/>
          </a:xfrm>
          <a:prstGeom prst="rect">
            <a:avLst/>
          </a:prstGeom>
        </p:spPr>
        <p:txBody>
          <a:bodyPr vert="horz" wrap="square" lIns="0" tIns="9716" rIns="0" bIns="0" rtlCol="0">
            <a:spAutoFit/>
          </a:bodyPr>
          <a:lstStyle/>
          <a:p>
            <a:pPr algn="just" defTabSz="699682"/>
            <a:endParaRPr lang="ru-RU" sz="200" b="1" dirty="0">
              <a:solidFill>
                <a:srgbClr val="C00000"/>
              </a:solidFill>
              <a:latin typeface="Arial" charset="0"/>
              <a:cs typeface="+mn-cs"/>
            </a:endParaRPr>
          </a:p>
          <a:p>
            <a:pPr marL="81125" algn="just" defTabSz="699682">
              <a:spcBef>
                <a:spcPts val="0"/>
              </a:spcBef>
            </a:pPr>
            <a:r>
              <a:rPr lang="ru-RU" sz="800" dirty="0" smtClean="0">
                <a:latin typeface="Arial" pitchFamily="34" charset="0"/>
                <a:ea typeface="Times New Roman" panose="02020603050405020304" pitchFamily="18" charset="0"/>
              </a:rPr>
              <a:t>9</a:t>
            </a:r>
            <a:endParaRPr lang="ru-RU" sz="800" dirty="0">
              <a:latin typeface="Arial" pitchFamily="34" charset="0"/>
              <a:ea typeface="Times New Roman" panose="02020603050405020304" pitchFamily="18" charset="0"/>
            </a:endParaRPr>
          </a:p>
        </p:txBody>
      </p:sp>
      <p:pic>
        <p:nvPicPr>
          <p:cNvPr id="30" name="Graphic 198" descr="Badge Tick1 with solid fill">
            <a:extLst>
              <a:ext uri="{FF2B5EF4-FFF2-40B4-BE49-F238E27FC236}">
                <a16:creationId xmlns:a16="http://schemas.microsoft.com/office/drawing/2014/main" xmlns="" id="{7BF4CAFD-2347-4CF9-B763-53D7022CB600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1">
                <a:tint val="45000"/>
                <a:satMod val="400000"/>
              </a:schemeClr>
            </a:duotone>
            <a:extLst/>
          </a:blip>
          <a:stretch>
            <a:fillRect/>
          </a:stretch>
        </p:blipFill>
        <p:spPr>
          <a:xfrm>
            <a:off x="71921" y="3287843"/>
            <a:ext cx="277616" cy="252000"/>
          </a:xfrm>
          <a:prstGeom prst="rect">
            <a:avLst/>
          </a:prstGeom>
        </p:spPr>
      </p:pic>
      <p:sp>
        <p:nvSpPr>
          <p:cNvPr id="27" name="Shape 2617"/>
          <p:cNvSpPr/>
          <p:nvPr/>
        </p:nvSpPr>
        <p:spPr>
          <a:xfrm>
            <a:off x="139987" y="1626898"/>
            <a:ext cx="209550" cy="1761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rgbClr val="002060"/>
          </a:solidFill>
          <a:ln w="12700">
            <a:miter lim="400000"/>
          </a:ln>
        </p:spPr>
        <p:txBody>
          <a:bodyPr lIns="14284" tIns="14284" rIns="14284" bIns="14284" anchor="ctr"/>
          <a:lstStyle/>
          <a:p>
            <a:pPr defTabSz="171399" eaLnBrk="1" hangingPunct="1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125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Calibri" charset="0"/>
              <a:cs typeface="Calibri" charset="0"/>
              <a:sym typeface="Gill Sans"/>
            </a:endParaRPr>
          </a:p>
        </p:txBody>
      </p:sp>
      <p:sp>
        <p:nvSpPr>
          <p:cNvPr id="18" name="Прямоугольник 15"/>
          <p:cNvSpPr/>
          <p:nvPr/>
        </p:nvSpPr>
        <p:spPr>
          <a:xfrm>
            <a:off x="483487" y="651584"/>
            <a:ext cx="86970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350" dirty="0">
                <a:latin typeface="Arial" panose="020B0604020202020204"/>
                <a:cs typeface="Arial Narrow" panose="020B0606020202030204"/>
              </a:rPr>
              <a:t>В рамках </a:t>
            </a:r>
            <a:r>
              <a:rPr lang="ru-RU" sz="1350" dirty="0" smtClean="0">
                <a:latin typeface="Arial" panose="020B0604020202020204"/>
                <a:cs typeface="Arial Narrow" panose="020B0606020202030204"/>
              </a:rPr>
              <a:t>законопроектов </a:t>
            </a:r>
            <a:r>
              <a:rPr lang="ru-RU" sz="1350" dirty="0" err="1">
                <a:latin typeface="Arial" panose="020B0604020202020204"/>
                <a:cs typeface="Arial Narrow" panose="020B0606020202030204"/>
              </a:rPr>
              <a:t>акиматы</a:t>
            </a:r>
            <a:r>
              <a:rPr lang="ru-RU" sz="1350" dirty="0">
                <a:latin typeface="Arial" panose="020B0604020202020204"/>
                <a:cs typeface="Arial Narrow" panose="020B0606020202030204"/>
              </a:rPr>
              <a:t> регионов наделяются </a:t>
            </a:r>
            <a:r>
              <a:rPr lang="ru-RU" sz="1600" b="1" dirty="0">
                <a:solidFill>
                  <a:srgbClr val="00B050"/>
                </a:solidFill>
                <a:latin typeface="Arial" panose="020B0604020202020204"/>
                <a:cs typeface="Arial Narrow" panose="020B0606020202030204"/>
              </a:rPr>
              <a:t>25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дополнительными </a:t>
            </a:r>
            <a:r>
              <a:rPr lang="ru-RU" sz="14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полномочиями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500" b="1" dirty="0" smtClean="0">
                <a:solidFill>
                  <a:srgbClr val="002060"/>
                </a:solidFill>
                <a:latin typeface="Arial" panose="020B0604020202020204"/>
                <a:cs typeface="Arial Narrow" panose="020B0606020202030204"/>
              </a:rPr>
              <a:t> </a:t>
            </a:r>
          </a:p>
          <a:p>
            <a:pPr algn="just" defTabSz="513701">
              <a:buClr>
                <a:srgbClr val="0070CE"/>
              </a:buClr>
              <a:buSzPct val="100000"/>
              <a:defRPr/>
            </a:pP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(</a:t>
            </a:r>
            <a:r>
              <a:rPr lang="ru-RU" sz="1100" b="1" i="1" dirty="0" smtClean="0">
                <a:solidFill>
                  <a:srgbClr val="00B050"/>
                </a:solidFill>
                <a:latin typeface="Arial" panose="020B0604020202020204"/>
                <a:cs typeface="Arial Narrow" panose="020B0606020202030204"/>
              </a:rPr>
              <a:t>11</a:t>
            </a: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полномочий – в рамках основного </a:t>
            </a: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законопроекта, </a:t>
            </a:r>
            <a:r>
              <a:rPr lang="ru-RU" sz="1100" b="1" i="1" dirty="0" smtClean="0">
                <a:solidFill>
                  <a:srgbClr val="00B050"/>
                </a:solidFill>
                <a:latin typeface="Arial" panose="020B0604020202020204"/>
                <a:cs typeface="Arial Narrow" panose="020B0606020202030204"/>
              </a:rPr>
              <a:t>14</a:t>
            </a: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 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полномочий – в рамках </a:t>
            </a: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сопутствующего </a:t>
            </a:r>
            <a:r>
              <a:rPr lang="ru-RU" sz="1100" i="1" dirty="0">
                <a:latin typeface="Arial" panose="020B0604020202020204"/>
                <a:cs typeface="Arial Narrow" panose="020B0606020202030204"/>
              </a:rPr>
              <a:t>законопроекта</a:t>
            </a:r>
            <a:r>
              <a:rPr lang="ru-RU" sz="1100" i="1" dirty="0" smtClean="0">
                <a:latin typeface="Arial" panose="020B0604020202020204"/>
                <a:cs typeface="Arial Narrow" panose="020B0606020202030204"/>
              </a:rPr>
              <a:t>)</a:t>
            </a:r>
            <a:endParaRPr lang="ru-RU" sz="1100" i="1" dirty="0">
              <a:latin typeface="Arial" panose="020B0604020202020204"/>
              <a:cs typeface="Arial Narrow" panose="020B0606020202030204"/>
            </a:endParaRPr>
          </a:p>
        </p:txBody>
      </p:sp>
    </p:spTree>
    <p:extLst>
      <p:ext uri="{BB962C8B-B14F-4D97-AF65-F5344CB8AC3E}">
        <p14:creationId xmlns:p14="http://schemas.microsoft.com/office/powerpoint/2010/main" val="655121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5400" cap="flat" cmpd="sng" algn="ctr">
          <a:noFill/>
          <a:prstDash val="solid"/>
        </a:ln>
        <a:effectLst/>
      </a:spPr>
      <a:bodyPr spcFirstLastPara="0" vert="horz" wrap="square" lIns="162192" tIns="162192" rIns="162192" bIns="162192" numCol="1" spcCol="1270" anchor="ctr" anchorCtr="0">
        <a:noAutofit/>
      </a:bodyPr>
      <a:lstStyle>
        <a:defPPr marL="180975" indent="-180975" defTabSz="914400" fontAlgn="auto">
          <a:spcBef>
            <a:spcPts val="0"/>
          </a:spcBef>
          <a:spcAft>
            <a:spcPts val="0"/>
          </a:spcAft>
          <a:buFont typeface="Arial" panose="020B0604020202020204" pitchFamily="34" charset="0"/>
          <a:buChar char="•"/>
          <a:defRPr sz="1400" cap="small" dirty="0" smtClean="0">
            <a:solidFill>
              <a:srgbClr val="002060"/>
            </a:solidFill>
            <a:latin typeface="Arial" panose="020B0604020202020204" pitchFamily="34" charset="0"/>
            <a:ea typeface="Tahoma" panose="020B0604030504040204" pitchFamily="34" charset="0"/>
          </a:defRPr>
        </a:defPPr>
      </a:lst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2. Дополнительны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.potx" id="{13C89596-CA46-49FE-8759-AF466791A752}" vid="{129FEF66-2A94-41F7-B48D-E9EEFD99D971}"/>
    </a:ext>
  </a:extLst>
</a:theme>
</file>

<file path=ppt/theme/theme4.xml><?xml version="1.0" encoding="utf-8"?>
<a:theme xmlns:a="http://schemas.openxmlformats.org/drawingml/2006/main" name="1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.potx" id="{13C89596-CA46-49FE-8759-AF466791A752}" vid="{129FEF66-2A94-41F7-B48D-E9EEFD99D971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5344</TotalTime>
  <Words>1377</Words>
  <Application>Microsoft Office PowerPoint</Application>
  <PresentationFormat>Экран (16:9)</PresentationFormat>
  <Paragraphs>187</Paragraphs>
  <Slides>15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0" baseType="lpstr">
      <vt:lpstr>맑은 고딕</vt:lpstr>
      <vt:lpstr>ＭＳ Ｐゴシック</vt:lpstr>
      <vt:lpstr>Arial</vt:lpstr>
      <vt:lpstr>Arial Narrow</vt:lpstr>
      <vt:lpstr>Calibri</vt:lpstr>
      <vt:lpstr>Calibri Light</vt:lpstr>
      <vt:lpstr>Gill Sans</vt:lpstr>
      <vt:lpstr>Segoe UI Light</vt:lpstr>
      <vt:lpstr>Tahoma</vt:lpstr>
      <vt:lpstr>Times New Roman</vt:lpstr>
      <vt:lpstr>Тема Office</vt:lpstr>
      <vt:lpstr>1_2. Дополнительные</vt:lpstr>
      <vt:lpstr>Firm Format - template_Blue</vt:lpstr>
      <vt:lpstr>1_Firm Format - template_Blu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юджетный кодекс РК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ржан Иманбаев</dc:creator>
  <cp:lastModifiedBy>Аубакирова Бибисара</cp:lastModifiedBy>
  <cp:revision>598</cp:revision>
  <cp:lastPrinted>2022-10-07T06:06:08Z</cp:lastPrinted>
  <dcterms:created xsi:type="dcterms:W3CDTF">2017-09-18T08:04:07Z</dcterms:created>
  <dcterms:modified xsi:type="dcterms:W3CDTF">2022-10-20T04:12:15Z</dcterms:modified>
</cp:coreProperties>
</file>